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7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19" r:id="rId1"/>
    <p:sldMasterId id="2147483722" r:id="rId2"/>
    <p:sldMasterId id="2147483726" r:id="rId3"/>
    <p:sldMasterId id="2147483754" r:id="rId4"/>
    <p:sldMasterId id="2147483760" r:id="rId5"/>
    <p:sldMasterId id="2147483788" r:id="rId6"/>
    <p:sldMasterId id="2147483793" r:id="rId7"/>
    <p:sldMasterId id="2147483805" r:id="rId8"/>
  </p:sldMasterIdLst>
  <p:notesMasterIdLst>
    <p:notesMasterId r:id="rId24"/>
  </p:notesMasterIdLst>
  <p:handoutMasterIdLst>
    <p:handoutMasterId r:id="rId25"/>
  </p:handoutMasterIdLst>
  <p:sldIdLst>
    <p:sldId id="1205" r:id="rId9"/>
    <p:sldId id="1193" r:id="rId10"/>
    <p:sldId id="1194" r:id="rId11"/>
    <p:sldId id="1195" r:id="rId12"/>
    <p:sldId id="1165" r:id="rId13"/>
    <p:sldId id="1166" r:id="rId14"/>
    <p:sldId id="1204" r:id="rId15"/>
    <p:sldId id="1207" r:id="rId16"/>
    <p:sldId id="1208" r:id="rId17"/>
    <p:sldId id="1196" r:id="rId18"/>
    <p:sldId id="1197" r:id="rId19"/>
    <p:sldId id="1198" r:id="rId20"/>
    <p:sldId id="1200" r:id="rId21"/>
    <p:sldId id="1201" r:id="rId22"/>
    <p:sldId id="1206" r:id="rId23"/>
  </p:sldIdLst>
  <p:sldSz cx="9144000" cy="5143500" type="screen16x9"/>
  <p:notesSz cx="7010400" cy="9372600"/>
  <p:custDataLst>
    <p:tags r:id="rId26"/>
  </p:custDataLst>
  <p:defaultTextStyle>
    <a:defPPr>
      <a:defRPr lang="en-US"/>
    </a:defPPr>
    <a:lvl1pPr marL="0" algn="l" defTabSz="685177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588" algn="l" defTabSz="685177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177" algn="l" defTabSz="685177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7764" algn="l" defTabSz="685177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0354" algn="l" defTabSz="685177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2940" algn="l" defTabSz="685177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5530" algn="l" defTabSz="685177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8117" algn="l" defTabSz="685177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0705" algn="l" defTabSz="685177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63EA811-7F83-442E-A8A8-5341187679CB}">
          <p14:sldIdLst>
            <p14:sldId id="1205"/>
            <p14:sldId id="1193"/>
            <p14:sldId id="1194"/>
            <p14:sldId id="1195"/>
            <p14:sldId id="1165"/>
            <p14:sldId id="1166"/>
            <p14:sldId id="1204"/>
            <p14:sldId id="1207"/>
            <p14:sldId id="1208"/>
            <p14:sldId id="1196"/>
            <p14:sldId id="1197"/>
            <p14:sldId id="1198"/>
            <p14:sldId id="1200"/>
            <p14:sldId id="1201"/>
            <p14:sldId id="120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17" userDrawn="1">
          <p15:clr>
            <a:srgbClr val="A4A3A4"/>
          </p15:clr>
        </p15:guide>
        <p15:guide id="2" pos="1729" userDrawn="1">
          <p15:clr>
            <a:srgbClr val="A4A3A4"/>
          </p15:clr>
        </p15:guide>
        <p15:guide id="3" orient="horz" pos="2504" userDrawn="1">
          <p15:clr>
            <a:srgbClr val="A4A3A4"/>
          </p15:clr>
        </p15:guide>
        <p15:guide id="4" userDrawn="1">
          <p15:clr>
            <a:srgbClr val="A4A3A4"/>
          </p15:clr>
        </p15:guide>
        <p15:guide id="5" orient="horz" pos="540" userDrawn="1">
          <p15:clr>
            <a:srgbClr val="A4A3A4"/>
          </p15:clr>
        </p15:guide>
        <p15:guide id="6" pos="5760" userDrawn="1">
          <p15:clr>
            <a:srgbClr val="A4A3A4"/>
          </p15:clr>
        </p15:guide>
        <p15:guide id="7" orient="horz" pos="685" userDrawn="1">
          <p15:clr>
            <a:srgbClr val="A4A3A4"/>
          </p15:clr>
        </p15:guide>
        <p15:guide id="8" pos="3548" userDrawn="1">
          <p15:clr>
            <a:srgbClr val="A4A3A4"/>
          </p15:clr>
        </p15:guide>
        <p15:guide id="10" orient="horz" pos="905" userDrawn="1">
          <p15:clr>
            <a:srgbClr val="A4A3A4"/>
          </p15:clr>
        </p15:guide>
        <p15:guide id="11" orient="horz" pos="1161" userDrawn="1">
          <p15:clr>
            <a:srgbClr val="A4A3A4"/>
          </p15:clr>
        </p15:guide>
        <p15:guide id="12" orient="horz" pos="1824" userDrawn="1">
          <p15:clr>
            <a:srgbClr val="A4A3A4"/>
          </p15:clr>
        </p15:guide>
        <p15:guide id="13" pos="3744" userDrawn="1">
          <p15:clr>
            <a:srgbClr val="A4A3A4"/>
          </p15:clr>
        </p15:guide>
        <p15:guide id="14" pos="808" userDrawn="1">
          <p15:clr>
            <a:srgbClr val="A4A3A4"/>
          </p15:clr>
        </p15:guide>
        <p15:guide id="16" orient="horz" pos="111" userDrawn="1">
          <p15:clr>
            <a:srgbClr val="A4A3A4"/>
          </p15:clr>
        </p15:guide>
        <p15:guide id="17" orient="horz" userDrawn="1">
          <p15:clr>
            <a:srgbClr val="A4A3A4"/>
          </p15:clr>
        </p15:guide>
        <p15:guide id="18" orient="horz" pos="1688" userDrawn="1">
          <p15:clr>
            <a:srgbClr val="A4A3A4"/>
          </p15:clr>
        </p15:guide>
        <p15:guide id="19" pos="2887" userDrawn="1">
          <p15:clr>
            <a:srgbClr val="A4A3A4"/>
          </p15:clr>
        </p15:guide>
        <p15:guide id="20" pos="5531" userDrawn="1">
          <p15:clr>
            <a:srgbClr val="A4A3A4"/>
          </p15:clr>
        </p15:guide>
        <p15:guide id="21" pos="2733" userDrawn="1">
          <p15:clr>
            <a:srgbClr val="A4A3A4"/>
          </p15:clr>
        </p15:guide>
        <p15:guide id="22" pos="1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52">
          <p15:clr>
            <a:srgbClr val="A4A3A4"/>
          </p15:clr>
        </p15:guide>
        <p15:guide id="2" pos="2208">
          <p15:clr>
            <a:srgbClr val="A4A3A4"/>
          </p15:clr>
        </p15:guide>
        <p15:guide id="3" orient="horz" pos="2304">
          <p15:clr>
            <a:srgbClr val="A4A3A4"/>
          </p15:clr>
        </p15:guide>
        <p15:guide id="4" pos="3024">
          <p15:clr>
            <a:srgbClr val="A4A3A4"/>
          </p15:clr>
        </p15:guide>
        <p15:guide id="5" orient="horz" pos="3782">
          <p15:clr>
            <a:srgbClr val="A4A3A4"/>
          </p15:clr>
        </p15:guide>
        <p15:guide id="6" pos="16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n den Brink, Anne (NL - Amsterdam)" initials="vdBA(-A" lastIdx="5" clrIdx="0">
    <p:extLst/>
  </p:cmAuthor>
  <p:cmAuthor id="2" name="Okkersen, Vincent (NL - Amsterdam)" initials="OV(-A" lastIdx="3" clrIdx="1">
    <p:extLst/>
  </p:cmAuthor>
  <p:cmAuthor id="3" name="Garraty, Bridget" initials="GB" lastIdx="4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1B15"/>
    <a:srgbClr val="F26522"/>
    <a:srgbClr val="AA0861"/>
    <a:srgbClr val="FF4000"/>
    <a:srgbClr val="FF0000"/>
    <a:srgbClr val="333333"/>
    <a:srgbClr val="FF0066"/>
    <a:srgbClr val="FFC002"/>
    <a:srgbClr val="FF4001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35" autoAdjust="0"/>
    <p:restoredTop sz="94434" autoAdjust="0"/>
  </p:normalViewPr>
  <p:slideViewPr>
    <p:cSldViewPr snapToGrid="0" snapToObjects="1">
      <p:cViewPr varScale="1">
        <p:scale>
          <a:sx n="113" d="100"/>
          <a:sy n="113" d="100"/>
        </p:scale>
        <p:origin x="739" y="67"/>
      </p:cViewPr>
      <p:guideLst>
        <p:guide orient="horz" pos="617"/>
        <p:guide pos="1729"/>
        <p:guide orient="horz" pos="2504"/>
        <p:guide/>
        <p:guide orient="horz" pos="540"/>
        <p:guide pos="5760"/>
        <p:guide orient="horz" pos="685"/>
        <p:guide pos="3548"/>
        <p:guide orient="horz" pos="905"/>
        <p:guide orient="horz" pos="1161"/>
        <p:guide orient="horz" pos="1824"/>
        <p:guide pos="3744"/>
        <p:guide pos="808"/>
        <p:guide orient="horz" pos="111"/>
        <p:guide orient="horz"/>
        <p:guide orient="horz" pos="1688"/>
        <p:guide pos="2887"/>
        <p:guide pos="5531"/>
        <p:guide pos="2733"/>
        <p:guide pos="137"/>
      </p:guideLst>
    </p:cSldViewPr>
  </p:slideViewPr>
  <p:outlineViewPr>
    <p:cViewPr>
      <p:scale>
        <a:sx n="33" d="100"/>
        <a:sy n="33" d="100"/>
      </p:scale>
      <p:origin x="0" y="1301"/>
    </p:cViewPr>
  </p:outlineViewPr>
  <p:notesTextViewPr>
    <p:cViewPr>
      <p:scale>
        <a:sx n="40" d="100"/>
        <a:sy n="4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8" d="100"/>
          <a:sy n="48" d="100"/>
        </p:scale>
        <p:origin x="-2683" y="-72"/>
      </p:cViewPr>
      <p:guideLst>
        <p:guide orient="horz" pos="2952"/>
        <p:guide pos="2208"/>
        <p:guide orient="horz" pos="2304"/>
        <p:guide pos="3024"/>
        <p:guide orient="horz" pos="3782"/>
        <p:guide pos="16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38604" cy="469155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159" y="2"/>
            <a:ext cx="3038604" cy="469155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6A8D2B28-A4DD-4DE0-90B5-F858E18FECB0}" type="datetimeFigureOut">
              <a:rPr lang="nl-NL" smtClean="0"/>
              <a:pPr/>
              <a:t>17-12-20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903448"/>
            <a:ext cx="3038604" cy="469155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159" y="8903448"/>
            <a:ext cx="3038604" cy="469155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14145E7A-0C5D-4846-8F0F-6C67EBAC496E}" type="slidenum">
              <a:rPr lang="nl-NL" smtClean="0"/>
              <a:pPr/>
              <a:t>‹Nº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173918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8630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8630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F0A1BC65-3BCC-4E9B-9B82-4B7192AC52E3}" type="datetimeFigureOut">
              <a:rPr lang="en-US" smtClean="0"/>
              <a:pPr/>
              <a:t>12/17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703263"/>
            <a:ext cx="62484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1041" y="4451985"/>
            <a:ext cx="5608320" cy="4217670"/>
          </a:xfrm>
          <a:prstGeom prst="rect">
            <a:avLst/>
          </a:prstGeom>
        </p:spPr>
        <p:txBody>
          <a:bodyPr vert="horz" lIns="91429" tIns="45714" rIns="91429" bIns="45714" rtlCol="0"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902343"/>
            <a:ext cx="3037840" cy="468630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70938" y="8902343"/>
            <a:ext cx="3037840" cy="468630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A35CC3DB-B3BC-456D-B636-76ABCF0B059A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61172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1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588" algn="l" defTabSz="6851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177" algn="l" defTabSz="6851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7764" algn="l" defTabSz="6851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0354" algn="l" defTabSz="6851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2940" algn="l" defTabSz="6851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5530" algn="l" defTabSz="6851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8117" algn="l" defTabSz="6851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0705" algn="l" defTabSz="68517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VTR</a:t>
            </a:r>
            <a:r>
              <a:rPr lang="es-CL" baseline="0" dirty="0"/>
              <a:t> es una empresa de servicios de telecomunicaciones y formamos parte del grupo Liberty </a:t>
            </a:r>
            <a:r>
              <a:rPr lang="es-CL" baseline="0" dirty="0" err="1"/>
              <a:t>Latin</a:t>
            </a:r>
            <a:r>
              <a:rPr lang="es-CL" baseline="0" dirty="0"/>
              <a:t> América.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DA9585-6945-9347-A776-DE934A84F35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6232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DA9585-6945-9347-A776-DE934A84F359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025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Nuestra</a:t>
            </a:r>
            <a:r>
              <a:rPr lang="es-CL" baseline="0" dirty="0"/>
              <a:t> Cultura LLA es Innovar para crear momento significativos para nuestros clientes, generando crecimiento en nuestros mercados, con UNA visión, UNA cultura, UN equipo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DA9585-6945-9347-A776-DE934A84F35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989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5CC3DB-B3BC-456D-B636-76ABCF0B059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7882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AA855B-CB10-EA49-B3EB-FE14B761E6D6}" type="slidenum">
              <a:rPr lang="es-ES_tradnl" smtClean="0"/>
              <a:pPr/>
              <a:t>6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31053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5CC3DB-B3BC-456D-B636-76ABCF0B059A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62159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5CC3DB-B3BC-456D-B636-76ABCF0B059A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1507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sz="1800" dirty="0" smtClean="0"/>
              <a:t>En VTR</a:t>
            </a:r>
            <a:r>
              <a:rPr lang="es-CL" sz="1800" baseline="0" dirty="0" smtClean="0"/>
              <a:t> desde hace muchos años hemos promovido el equilibrio entre </a:t>
            </a:r>
            <a:r>
              <a:rPr lang="es-CL" sz="1800" dirty="0" smtClean="0"/>
              <a:t>trabajo y vida personal. </a:t>
            </a:r>
          </a:p>
          <a:p>
            <a:r>
              <a:rPr lang="es-CL" sz="1800" dirty="0" smtClean="0"/>
              <a:t>Nuestros colaboradores tienen días libres pagados, adicionales a sus vacaciones legales, que pueden tomar durante el año para muchos fines personales, como celebrar su cumpleaños o el de su hijo(a), hacer trámites, cuidar su salud, viajar, practicar deporte, cambiarse de casa o simplemente descansar en familia. </a:t>
            </a:r>
          </a:p>
          <a:p>
            <a:r>
              <a:rPr lang="es-CL" sz="1800" dirty="0" smtClean="0"/>
              <a:t>Vive Flexible (tiempo libre para elegir)</a:t>
            </a:r>
          </a:p>
          <a:p>
            <a:r>
              <a:rPr lang="es-CL" sz="1800" dirty="0" smtClean="0"/>
              <a:t>Sala de lactancia</a:t>
            </a:r>
          </a:p>
          <a:p>
            <a:r>
              <a:rPr lang="es-CL" sz="1800" dirty="0" smtClean="0"/>
              <a:t>Mamá Vuelve tranquila</a:t>
            </a:r>
          </a:p>
          <a:p>
            <a:r>
              <a:rPr lang="es-CL" sz="1800" dirty="0" smtClean="0"/>
              <a:t>Papá vuelve tranquilo</a:t>
            </a:r>
          </a:p>
          <a:p>
            <a:r>
              <a:rPr lang="es-CL" sz="1800" dirty="0" smtClean="0"/>
              <a:t>Portal de Calidad de Vida</a:t>
            </a:r>
          </a:p>
          <a:p>
            <a:r>
              <a:rPr lang="es-CL" sz="1800" dirty="0" smtClean="0"/>
              <a:t>Programa Embajadores</a:t>
            </a:r>
          </a:p>
          <a:p>
            <a:r>
              <a:rPr lang="es-CL" sz="1800" dirty="0" smtClean="0"/>
              <a:t>Programa Ocúpate</a:t>
            </a:r>
          </a:p>
          <a:p>
            <a:r>
              <a:rPr lang="es-CL" sz="1800" dirty="0" err="1" smtClean="0"/>
              <a:t>Simpleflex</a:t>
            </a:r>
            <a:endParaRPr lang="es-CL" sz="1800" dirty="0" smtClean="0"/>
          </a:p>
          <a:p>
            <a:r>
              <a:rPr lang="es-CL" sz="1800" dirty="0" smtClean="0"/>
              <a:t>Regalo unión civil</a:t>
            </a:r>
          </a:p>
          <a:p>
            <a:r>
              <a:rPr lang="es-CL" sz="1800" dirty="0" smtClean="0"/>
              <a:t>Pack de vacaciones</a:t>
            </a:r>
          </a:p>
          <a:p>
            <a:endParaRPr lang="es-CL" sz="1800" dirty="0" smtClean="0"/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DA9585-6945-9347-A776-DE934A84F359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6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DA9585-6945-9347-A776-DE934A84F359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2989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0% de los</a:t>
            </a:r>
            <a:r>
              <a:rPr lang="es-CL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colaboradores que desde junio a la fecha han sido padres, se han tomado el beneficio de las 8 semanas, ya sea en forma continua o flexible. El uso de este beneficio se refleja por la cultura que promovemos en LLA y VTR y el liderazgo. </a:t>
            </a:r>
            <a:endParaRPr lang="es-CL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mentamos la equidad de género y la corresponsabilidad parental</a:t>
            </a:r>
            <a:r>
              <a:rPr lang="es-CL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 esta misma línea el beneficio parental. Cuántos hombre son potenciales a usar este beneficio y cuántos se lo han tomado. Una </a:t>
            </a:r>
            <a:r>
              <a:rPr lang="es-CL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lide</a:t>
            </a:r>
            <a:r>
              <a:rPr lang="es-CL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ás completa que la última que aparece con que el 100% se lo ha tomado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DA9585-6945-9347-A776-DE934A84F359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5349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image" Target="../media/image10.emf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oleObject" Target="../embeddings/oleObject8.bin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1" Type="http://schemas.openxmlformats.org/officeDocument/2006/relationships/vmlDrawing" Target="../drawings/vmlDrawing7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image" Target="../media/image7.emf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oleObject" Target="../embeddings/oleObject7.bin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image" Target="../media/image10.emf"/><Relationship Id="rId3" Type="http://schemas.openxmlformats.org/officeDocument/2006/relationships/tags" Target="../tags/tag49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oleObject" Target="../embeddings/oleObject10.bin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image" Target="../media/image7.emf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oleObject" Target="../embeddings/oleObject9.bin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3" Type="http://schemas.openxmlformats.org/officeDocument/2006/relationships/tags" Target="../tags/tag69.xml"/><Relationship Id="rId21" Type="http://schemas.openxmlformats.org/officeDocument/2006/relationships/slideMaster" Target="../slideMasters/slideMaster4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image" Target="../media/image7.emf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oleObject" Target="../embeddings/oleObject11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8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8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3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92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5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076643"/>
              </p:ext>
            </p:extLst>
          </p:nvPr>
        </p:nvGraphicFramePr>
        <p:xfrm>
          <a:off x="1512" y="120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32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6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206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65316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HR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332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73534"/>
            <a:ext cx="7761589" cy="32850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Use this to create large bold text statements. Use ‘Function Color’ and different weight of text to create interest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215500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HR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9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73534"/>
            <a:ext cx="4833260" cy="2403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Use this to create large bold text statements. Use ‘Function Colors’ and different weight of text to create interest. Lorem ipsum dolor sit </a:t>
            </a:r>
            <a:r>
              <a:rPr lang="en-US" dirty="0" err="1"/>
              <a:t>amet</a:t>
            </a:r>
            <a:r>
              <a:rPr lang="en-US" dirty="0"/>
              <a:t>,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379200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HR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8559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52429" y="1161616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0087" y="1161616"/>
            <a:ext cx="1882215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350" b="0" baseline="0"/>
            </a:lvl1pPr>
          </a:lstStyle>
          <a:p>
            <a:pPr lvl="0"/>
            <a:r>
              <a:rPr lang="en-US" dirty="0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1560389"/>
            <a:ext cx="4485290" cy="30651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50" baseline="0"/>
            </a:lvl1pPr>
          </a:lstStyle>
          <a:p>
            <a:pPr lvl="0"/>
            <a:r>
              <a:rPr lang="en-US" dirty="0"/>
              <a:t>Description text 10PT.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52429" y="2008618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160087" y="2008618"/>
            <a:ext cx="1882215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350" b="0" baseline="0"/>
            </a:lvl1pPr>
          </a:lstStyle>
          <a:p>
            <a:pPr lvl="0"/>
            <a:r>
              <a:rPr lang="en-US" dirty="0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3911" y="2407392"/>
            <a:ext cx="4106917" cy="30651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Description text 10PT. 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552429" y="2857134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160087" y="2857134"/>
            <a:ext cx="1882215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350" b="0" baseline="0"/>
            </a:lvl1pPr>
          </a:lstStyle>
          <a:p>
            <a:pPr lvl="0"/>
            <a:r>
              <a:rPr lang="en-US" dirty="0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3911" y="3255908"/>
            <a:ext cx="4280338" cy="2945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Description text 10PT.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552429" y="3695699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160087" y="3695699"/>
            <a:ext cx="1882215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350" b="0" baseline="0"/>
            </a:lvl1pPr>
          </a:lstStyle>
          <a:p>
            <a:pPr lvl="0"/>
            <a:r>
              <a:rPr lang="en-US" dirty="0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543911" y="4094473"/>
            <a:ext cx="3814145" cy="2945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Description text 10PT.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0744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HR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589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0087" y="1161616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543910" y="1152179"/>
            <a:ext cx="544862" cy="438150"/>
          </a:xfrm>
          <a:prstGeom prst="rect">
            <a:avLst/>
          </a:prstGeom>
          <a:solidFill>
            <a:schemeClr val="accent2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160087" y="1771651"/>
            <a:ext cx="4313905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543910" y="1762215"/>
            <a:ext cx="544862" cy="438150"/>
          </a:xfrm>
          <a:prstGeom prst="rect">
            <a:avLst/>
          </a:prstGeom>
          <a:solidFill>
            <a:schemeClr val="accent2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160087" y="2393345"/>
            <a:ext cx="360102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543910" y="2383909"/>
            <a:ext cx="544862" cy="438150"/>
          </a:xfrm>
          <a:prstGeom prst="rect">
            <a:avLst/>
          </a:prstGeom>
          <a:solidFill>
            <a:schemeClr val="accent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160087" y="3025968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br>
              <a:rPr lang="en-US" dirty="0"/>
            </a:b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543910" y="3016532"/>
            <a:ext cx="544862" cy="43815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160087" y="3655626"/>
            <a:ext cx="4397258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543910" y="3646190"/>
            <a:ext cx="544862" cy="43815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7173632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HR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Straight Connector 91"/>
          <p:cNvCxnSpPr/>
          <p:nvPr userDrawn="1"/>
        </p:nvCxnSpPr>
        <p:spPr>
          <a:xfrm>
            <a:off x="1552154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3040800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346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051107" y="1239876"/>
            <a:ext cx="1006009" cy="1006009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227302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8184" y="1818095"/>
            <a:ext cx="431647" cy="287765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24611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2539753" y="1239876"/>
            <a:ext cx="1006009" cy="1006009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2715948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413258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90" y="1807322"/>
            <a:ext cx="207821" cy="38454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4533242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4032195" y="1239876"/>
            <a:ext cx="1006009" cy="100600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4208390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905699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1632" y="1777733"/>
            <a:ext cx="403219" cy="354443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6013385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5512338" y="1239876"/>
            <a:ext cx="1006009" cy="1006009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5688533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385842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1318" y="1804630"/>
            <a:ext cx="324134" cy="307811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7491570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6990523" y="1239876"/>
            <a:ext cx="1006009" cy="1006009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7166718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864028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8002" y="1822974"/>
            <a:ext cx="447137" cy="255507"/>
          </a:xfrm>
          <a:prstGeom prst="rect">
            <a:avLst/>
          </a:prstGeom>
        </p:spPr>
      </p:pic>
      <p:sp>
        <p:nvSpPr>
          <p:cNvPr id="37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924612" y="2643449"/>
            <a:ext cx="1254463" cy="29718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RIGHT PEOPLE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411670" y="2643449"/>
            <a:ext cx="1254463" cy="29718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RIGHT PLAC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3906009" y="2643449"/>
            <a:ext cx="1254463" cy="29718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  <a:endParaRPr lang="en-US" dirty="0"/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5382238" y="2643449"/>
            <a:ext cx="1254463" cy="29718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  <a:endParaRPr lang="en-US" dirty="0"/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6858467" y="2643449"/>
            <a:ext cx="1254463" cy="29718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RIGHT FUTURE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72337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HR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8046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78313" y="1742879"/>
            <a:ext cx="2053121" cy="256508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 baseline="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04862" y="1450344"/>
            <a:ext cx="2226572" cy="242315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31411" y="1388111"/>
            <a:ext cx="346903" cy="346903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31411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692938" y="1742879"/>
            <a:ext cx="2053121" cy="256508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endParaRPr lang="en-US" dirty="0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519487" y="1450344"/>
            <a:ext cx="2226572" cy="24231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3346036" y="1388111"/>
            <a:ext cx="346903" cy="34690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346036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6407563" y="1742879"/>
            <a:ext cx="2053121" cy="256508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endParaRPr lang="en-US" dirty="0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234112" y="1450344"/>
            <a:ext cx="2226572" cy="242315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6060661" y="1388111"/>
            <a:ext cx="346903" cy="34690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060661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3227455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HR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332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78313" y="17428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 baseline="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04862" y="1450344"/>
            <a:ext cx="2226572" cy="242315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31411" y="1388111"/>
            <a:ext cx="346903" cy="346903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31411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692938" y="17428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</a:t>
            </a:r>
            <a:endParaRPr lang="en-US" dirty="0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519487" y="1450344"/>
            <a:ext cx="2226572" cy="24231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3346036" y="1388111"/>
            <a:ext cx="346903" cy="34690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346036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6407563" y="17428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234112" y="1450344"/>
            <a:ext cx="2226572" cy="242315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6060661" y="1388111"/>
            <a:ext cx="346903" cy="34690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060661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78313" y="34192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 baseline="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</a:t>
            </a:r>
            <a:endParaRPr lang="en-US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04862" y="3126744"/>
            <a:ext cx="2226572" cy="242315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31411" y="3064511"/>
            <a:ext cx="346903" cy="34690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631411" y="31451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692938" y="34192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3519487" y="3126744"/>
            <a:ext cx="2226572" cy="24231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3346036" y="3064511"/>
            <a:ext cx="346903" cy="34690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3346036" y="31451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6407563" y="34192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6234112" y="3126744"/>
            <a:ext cx="2226572" cy="242315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060661" y="3064511"/>
            <a:ext cx="346903" cy="346903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6060661" y="31451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458190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HR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5661658" y="1176081"/>
            <a:ext cx="3243026" cy="330874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525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4886294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4885340" cy="2735192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620519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HR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543910" y="1407493"/>
            <a:ext cx="3837590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3395227"/>
            <a:ext cx="3837590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3837590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648912" y="1407493"/>
            <a:ext cx="3837590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48912" y="3395227"/>
            <a:ext cx="3837590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8912" y="1164977"/>
            <a:ext cx="3837590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880912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HR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543911" y="1407493"/>
            <a:ext cx="2375638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1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3284426" y="1407493"/>
            <a:ext cx="2375638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84425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284426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6034740" y="1407493"/>
            <a:ext cx="2375638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034740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34740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194554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4873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HR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543911" y="1407494"/>
            <a:ext cx="2375638" cy="1231338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1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3284426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284426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6034740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34740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543911" y="3219965"/>
            <a:ext cx="2375638" cy="1231338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43911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3284426" y="321996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284426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6034740" y="321996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6034740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43911" y="2801983"/>
            <a:ext cx="786646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0077513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HR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9012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1"/>
            </p:custDataLst>
            <p:extLst/>
          </p:nvPr>
        </p:nvGraphicFramePr>
        <p:xfrm>
          <a:off x="587828" y="1151208"/>
          <a:ext cx="7783359" cy="3237776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2726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2487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9941798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HR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6883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1"/>
            </p:custDataLst>
            <p:extLst/>
          </p:nvPr>
        </p:nvGraphicFramePr>
        <p:xfrm>
          <a:off x="715618" y="1188094"/>
          <a:ext cx="7655570" cy="3195637"/>
        </p:xfrm>
        <a:graphic>
          <a:graphicData uri="http://schemas.openxmlformats.org/drawingml/2006/table">
            <a:tbl>
              <a:tblPr/>
              <a:tblGrid>
                <a:gridCol w="8674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6271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627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6271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395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nl-NL" sz="800" b="0" i="1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503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68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703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667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384239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HR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5660704" y="1176081"/>
            <a:ext cx="3243980" cy="33087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92175"/>
            <a:ext cx="7474995" cy="43997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4886294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4885340" cy="2735192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5384602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HR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3395227"/>
            <a:ext cx="3837590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3837590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48912" y="3395227"/>
            <a:ext cx="3837590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8912" y="1164977"/>
            <a:ext cx="3837590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543910" y="1407493"/>
            <a:ext cx="3837590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648912" y="1407493"/>
            <a:ext cx="3837590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6046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HR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1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84425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284426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034740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34740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543910" y="1407493"/>
            <a:ext cx="2375639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3284425" y="1407493"/>
            <a:ext cx="2375639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6025412" y="1407493"/>
            <a:ext cx="2375639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14454948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HR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50097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1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284426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34740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43911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284426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6034740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43911" y="2801983"/>
            <a:ext cx="786646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543910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3284425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6034740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543910" y="322635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3284425" y="322635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6034740" y="322635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508789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HR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9106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4614557" y="1148120"/>
            <a:ext cx="3904060" cy="3401615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2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>
                <a:defRPr/>
              </a:pPr>
              <a:endParaRPr lang="en-US" sz="1050" dirty="0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/>
              <a:endParaRPr lang="en-US" sz="1050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/>
              <a:endParaRPr lang="en-US" sz="1050">
                <a:solidFill>
                  <a:srgbClr val="FFFFF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>
                <a:defRPr/>
              </a:pPr>
              <a:endParaRPr lang="en-US" sz="1050" dirty="0">
                <a:solidFill>
                  <a:srgbClr val="FFFFFF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>
                <a:defRPr/>
              </a:pPr>
              <a:endParaRPr lang="en-US" sz="1050" dirty="0">
                <a:solidFill>
                  <a:srgbClr val="FFFFFF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>
                <a:defRPr/>
              </a:pPr>
              <a:endParaRPr lang="en-US" sz="1050" dirty="0">
                <a:solidFill>
                  <a:srgbClr val="FFFFFF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88139" y="2538470"/>
              <a:ext cx="1434153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 dirty="0">
                  <a:solidFill>
                    <a:srgbClr val="FFFFFF"/>
                  </a:solidFill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80532" y="2805170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59957" y="4146608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 dirty="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491594" y="5259445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56507" y="4962584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17419" y="3692583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 dirty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3837590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3837590" cy="2735192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473726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HR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236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6416831" y="1443384"/>
            <a:ext cx="1532334" cy="1351359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6416832" y="2852969"/>
            <a:ext cx="1726406" cy="727472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6189422" y="2913806"/>
            <a:ext cx="1388269" cy="1351360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4734478" y="2794744"/>
            <a:ext cx="1683544" cy="1194197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4709475" y="1550541"/>
            <a:ext cx="1708547" cy="1244203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6786667" y="3476971"/>
            <a:ext cx="1307306" cy="928688"/>
          </a:xfrm>
          <a:prstGeom prst="ellipse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4209413" y="2170856"/>
            <a:ext cx="1303734" cy="92630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4928550" y="3476971"/>
            <a:ext cx="1303734" cy="92868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7376475" y="2170856"/>
            <a:ext cx="1308497" cy="926306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5763178" y="1079053"/>
            <a:ext cx="1304925" cy="891778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73534"/>
            <a:ext cx="3545494" cy="2929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Use this to create large bold text statements. Use ‘Function Colors’ and different weight of text to create interest. Lorem ipsum dolor sit </a:t>
            </a:r>
            <a:r>
              <a:rPr lang="en-US" dirty="0" err="1"/>
              <a:t>amet</a:t>
            </a:r>
            <a:r>
              <a:rPr lang="en-US" dirty="0"/>
              <a:t>,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97695858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HR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6704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4071361" y="1174289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816597" y="2574893"/>
            <a:ext cx="6368234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7184832" y="2574893"/>
            <a:ext cx="1111007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7186535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8295839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3976830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2944277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1884983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816597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139836" y="1255859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39836" y="2018525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139836" y="2142073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4543055" y="2314640"/>
            <a:ext cx="0" cy="257351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5070593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6115119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324629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393104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3104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93104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394293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462768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462768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462768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2454713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2523187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523187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523187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3484924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3553398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553398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3553398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4575560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4644035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644035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644035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5623897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5692372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5692372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5692372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6695627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6764102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6764102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6764102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7804386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7872860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7872860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7872860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295634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. HR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79508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0087" y="1161616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543910" y="1152179"/>
            <a:ext cx="544862" cy="438150"/>
          </a:xfrm>
          <a:prstGeom prst="rect">
            <a:avLst/>
          </a:prstGeom>
          <a:solidFill>
            <a:schemeClr val="accent2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160087" y="1771651"/>
            <a:ext cx="4313905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543910" y="1762215"/>
            <a:ext cx="544862" cy="438150"/>
          </a:xfrm>
          <a:prstGeom prst="rect">
            <a:avLst/>
          </a:prstGeom>
          <a:solidFill>
            <a:schemeClr val="accent2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160087" y="2393345"/>
            <a:ext cx="360102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543910" y="2383909"/>
            <a:ext cx="544862" cy="438150"/>
          </a:xfrm>
          <a:prstGeom prst="rect">
            <a:avLst/>
          </a:prstGeom>
          <a:solidFill>
            <a:schemeClr val="accent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160087" y="3025968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br>
              <a:rPr lang="en-US" dirty="0"/>
            </a:b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543910" y="3016532"/>
            <a:ext cx="544862" cy="43815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160087" y="3655626"/>
            <a:ext cx="4397258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543910" y="3646190"/>
            <a:ext cx="544862" cy="43815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1430"/>
            <a:ext cx="4225801" cy="184579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r>
              <a:rPr lang="en-US" dirty="0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37716"/>
            <a:ext cx="316126" cy="184579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5F80CF-B076-F04C-8770-B8A09243D5BC}" type="datetime2">
              <a:rPr lang="en-GB" sz="600" smtClean="0"/>
              <a:t>Tuesday, 17 December 2019</a:t>
            </a:fld>
            <a:r>
              <a:rPr lang="en-GB" sz="600"/>
              <a:t>  </a:t>
            </a:r>
            <a:r>
              <a:rPr lang="en-GB" sz="600" dirty="0"/>
              <a:t>|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1295683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HR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64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4025586" y="1583664"/>
            <a:ext cx="0" cy="42611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234344" y="1897624"/>
            <a:ext cx="364145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1584720" y="2030716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232792" y="1897624"/>
            <a:ext cx="0" cy="112151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150669" y="2591589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150669" y="3081484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150669" y="3555016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150669" y="4032388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2638962" y="2461374"/>
            <a:ext cx="0" cy="176291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2498692" y="3262783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2772852" y="2461374"/>
            <a:ext cx="0" cy="1762914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2847490" y="4152490"/>
            <a:ext cx="0" cy="15128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3365000" y="2030716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2958745" y="2591589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2958745" y="3081484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2958745" y="3555016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2958745" y="4032388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4447038" y="2461374"/>
            <a:ext cx="0" cy="176291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4313179" y="2778916"/>
            <a:ext cx="13385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5136937" y="2042748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4730682" y="2591589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4730682" y="3081484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6218975" y="2461374"/>
            <a:ext cx="0" cy="80141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6763531" y="2584169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6357276" y="3133010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6357276" y="3622905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6357276" y="4096438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7845569" y="3002795"/>
            <a:ext cx="0" cy="128689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7718305" y="3320337"/>
            <a:ext cx="127265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5875802" y="1897624"/>
            <a:ext cx="0" cy="133093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4741677" y="1389935"/>
            <a:ext cx="2659121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7400798" y="1389404"/>
            <a:ext cx="0" cy="1170188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6078706" y="2794091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3365000" y="1204423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457576" y="1303968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457576" y="1427516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3487" y="213082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53487" y="225437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32281" y="213082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232281" y="225437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679456" y="213082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679456" y="225437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6078706" y="3263198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246069" y="268384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246069" y="280739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2498692" y="2800821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2498692" y="3755702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2498692" y="4224809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246069" y="318095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246069" y="330450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246069" y="3652441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246069" y="3775989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246069" y="413107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246069" y="425462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047974" y="268384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3047974" y="280739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3047974" y="318095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3047974" y="330450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3047974" y="3652441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3047974" y="3775989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3047974" y="413107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3047974" y="425462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6450080" y="3234738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6450080" y="3358287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6450080" y="3706226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6450080" y="3829774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6450080" y="4184857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6450080" y="4308405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4827469" y="268384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4827469" y="280739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4827469" y="318095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4827469" y="330450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6871421" y="268384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6871421" y="280739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7718305" y="3828092"/>
            <a:ext cx="127265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7718305" y="4289689"/>
            <a:ext cx="127265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4313179" y="3283374"/>
            <a:ext cx="13385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4313179" y="3768050"/>
            <a:ext cx="13385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4313179" y="4223052"/>
            <a:ext cx="13385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7976328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H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332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3311588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HR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9414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7014754" y="2626"/>
            <a:ext cx="1135775" cy="749127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7009863" y="240456"/>
            <a:ext cx="1160155" cy="26640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7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3410999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HR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86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52429" y="1161616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67970" y="1162663"/>
            <a:ext cx="5532375" cy="5794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 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</a:t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52429" y="1847050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552428" y="2535694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552428" y="3224130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552428" y="3888594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167970" y="1847050"/>
            <a:ext cx="3963706" cy="5794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 Lea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167970" y="2532212"/>
            <a:ext cx="5532375" cy="5794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</a:t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endParaRPr lang="en-US" dirty="0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167970" y="3223155"/>
            <a:ext cx="5532375" cy="5794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 </a:t>
            </a:r>
            <a:r>
              <a:rPr lang="en-US" dirty="0" err="1"/>
              <a:t>prompta</a:t>
            </a:r>
            <a:r>
              <a:rPr lang="en-US" dirty="0"/>
              <a:t> qui no</a:t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167970" y="3890332"/>
            <a:ext cx="5532375" cy="5794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imperdi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4963911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gradFill rotWithShape="1">
          <a:gsLst>
            <a:gs pos="0">
              <a:srgbClr val="C00000"/>
            </a:gs>
            <a:gs pos="50999">
              <a:srgbClr val="FF4001"/>
            </a:gs>
            <a:gs pos="100000">
              <a:srgbClr val="FF400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5982" y="0"/>
            <a:ext cx="3212306" cy="5268516"/>
          </a:xfrm>
          <a:prstGeom prst="rect">
            <a:avLst/>
          </a:prstGeom>
          <a:noFill/>
          <a:ln>
            <a:noFill/>
          </a:ln>
          <a:effectLst>
            <a:outerShdw blurRad="165100" dist="76200" dir="5400000" algn="t" rotWithShape="0">
              <a:srgbClr val="808080">
                <a:alpha val="15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47" name="Diapositiva de think-cell" r:id="rId5" imgW="38100" imgH="38100" progId="TCLayout.ActiveDocument.1">
                  <p:embed/>
                </p:oleObj>
              </mc:Choice>
              <mc:Fallback>
                <p:oleObj name="Diapositiva de think-cell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58635" y="1809823"/>
            <a:ext cx="5209119" cy="591832"/>
          </a:xfrm>
          <a:noFill/>
        </p:spPr>
        <p:txBody>
          <a:bodyPr lIns="107887" tIns="71926" rIns="71926" bIns="143850" rtlCol="0" anchor="ctr"/>
          <a:lstStyle>
            <a:lvl1pPr>
              <a:lnSpc>
                <a:spcPct val="90000"/>
              </a:lnSpc>
              <a:defRPr lang="en-GB" sz="2700" b="0" i="0" spc="0" baseline="0" dirty="0">
                <a:solidFill>
                  <a:schemeClr val="bg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pPr lvl="0"/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 bwMode="gray">
          <a:xfrm>
            <a:off x="558635" y="2628475"/>
            <a:ext cx="4183200" cy="497984"/>
          </a:xfrm>
          <a:prstGeom prst="rect">
            <a:avLst/>
          </a:prstGeom>
          <a:noFill/>
        </p:spPr>
        <p:txBody>
          <a:bodyPr lIns="71934" tIns="17984" bIns="17984"/>
          <a:lstStyle>
            <a:lvl1pPr marL="0" indent="0">
              <a:spcBef>
                <a:spcPts val="225"/>
              </a:spcBef>
              <a:buFontTx/>
              <a:buNone/>
              <a:defRPr sz="15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/>
          </p:nvPr>
        </p:nvSpPr>
        <p:spPr bwMode="gray">
          <a:xfrm>
            <a:off x="558635" y="3076368"/>
            <a:ext cx="4183200" cy="359485"/>
          </a:xfrm>
          <a:prstGeom prst="rect">
            <a:avLst/>
          </a:prstGeom>
          <a:noFill/>
        </p:spPr>
        <p:txBody>
          <a:bodyPr lIns="71934" tIns="17984" bIns="17984"/>
          <a:lstStyle>
            <a:lvl1pPr marL="0" indent="0">
              <a:spcBef>
                <a:spcPts val="225"/>
              </a:spcBef>
              <a:spcAft>
                <a:spcPts val="0"/>
              </a:spcAft>
              <a:buFontTx/>
              <a:buNone/>
              <a:defRPr sz="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558635" y="3551751"/>
            <a:ext cx="4183200" cy="174819"/>
          </a:xfrm>
          <a:prstGeom prst="rect">
            <a:avLst/>
          </a:prstGeom>
          <a:noFill/>
        </p:spPr>
        <p:txBody>
          <a:bodyPr lIns="71934" tIns="17984" bIns="17984"/>
          <a:lstStyle>
            <a:lvl1pPr marL="0" indent="0">
              <a:spcBef>
                <a:spcPts val="225"/>
              </a:spcBef>
              <a:spcAft>
                <a:spcPts val="450"/>
              </a:spcAft>
              <a:buFontTx/>
              <a:buNone/>
              <a:defRPr sz="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1591128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04" name="Diapositiva de think-cell" r:id="rId23" imgW="38100" imgH="38100" progId="TCLayout.ActiveDocument.1">
                  <p:embed/>
                </p:oleObj>
              </mc:Choice>
              <mc:Fallback>
                <p:oleObj name="Diapositiva de think-cell" r:id="rId23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213123" y="14288"/>
            <a:ext cx="64440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s-CL" sz="1050">
                <a:solidFill>
                  <a:srgbClr val="80808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213122" y="441722"/>
            <a:ext cx="77247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7" name="McK Slide Elements" hidden="1"/>
          <p:cNvGrpSpPr>
            <a:grpSpLocks/>
          </p:cNvGrpSpPr>
          <p:nvPr/>
        </p:nvGrpSpPr>
        <p:grpSpPr bwMode="auto">
          <a:xfrm>
            <a:off x="213123" y="4604154"/>
            <a:ext cx="8712994" cy="284560"/>
            <a:chOff x="75" y="3921"/>
            <a:chExt cx="645" cy="234"/>
          </a:xfrm>
        </p:grpSpPr>
        <p:sp>
          <p:nvSpPr>
            <p:cNvPr id="8" name="McK 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750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9" name="McK 5. Source"/>
            <p:cNvSpPr>
              <a:spLocks noChangeArrowheads="1"/>
            </p:cNvSpPr>
            <p:nvPr/>
          </p:nvSpPr>
          <p:spPr bwMode="auto">
            <a:xfrm>
              <a:off x="75" y="4060"/>
              <a:ext cx="6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12775" indent="-612775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750">
                  <a:solidFill>
                    <a:srgbClr val="00000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329" y="863091"/>
            <a:ext cx="4350544" cy="388259"/>
            <a:chOff x="915" y="710"/>
            <a:chExt cx="2686" cy="3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1200" b="1">
                  <a:solidFill>
                    <a:srgbClr val="00000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itle</a:t>
              </a:r>
            </a:p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1200">
                  <a:solidFill>
                    <a:srgbClr val="80808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Unit of measure</a:t>
              </a:r>
            </a:p>
          </p:txBody>
        </p:sp>
      </p:grpSp>
      <p:grpSp>
        <p:nvGrpSpPr>
          <p:cNvPr id="13" name="LegendBoxes" hidden="1"/>
          <p:cNvGrpSpPr>
            <a:grpSpLocks/>
          </p:cNvGrpSpPr>
          <p:nvPr/>
        </p:nvGrpSpPr>
        <p:grpSpPr bwMode="auto">
          <a:xfrm>
            <a:off x="7233051" y="235744"/>
            <a:ext cx="619674" cy="747713"/>
            <a:chOff x="4936" y="176"/>
            <a:chExt cx="423" cy="628"/>
          </a:xfrm>
        </p:grpSpPr>
        <p:sp>
          <p:nvSpPr>
            <p:cNvPr id="1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1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1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2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LegendLines" hidden="1"/>
          <p:cNvGrpSpPr>
            <a:grpSpLocks/>
          </p:cNvGrpSpPr>
          <p:nvPr/>
        </p:nvGrpSpPr>
        <p:grpSpPr bwMode="auto">
          <a:xfrm>
            <a:off x="6948485" y="235744"/>
            <a:ext cx="904234" cy="547688"/>
            <a:chOff x="4750" y="176"/>
            <a:chExt cx="617" cy="460"/>
          </a:xfrm>
        </p:grpSpPr>
        <p:sp>
          <p:nvSpPr>
            <p:cNvPr id="2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2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2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9" name="McKSticker" hidden="1"/>
          <p:cNvGrpSpPr>
            <a:grpSpLocks/>
          </p:cNvGrpSpPr>
          <p:nvPr/>
        </p:nvGrpSpPr>
        <p:grpSpPr bwMode="auto">
          <a:xfrm>
            <a:off x="7127932" y="235744"/>
            <a:ext cx="809966" cy="166199"/>
            <a:chOff x="7863234" y="285750"/>
            <a:chExt cx="877541" cy="221224"/>
          </a:xfrm>
        </p:grpSpPr>
        <p:sp>
          <p:nvSpPr>
            <p:cNvPr id="30" name="StickerRectangle"/>
            <p:cNvSpPr>
              <a:spLocks noChangeArrowheads="1"/>
            </p:cNvSpPr>
            <p:nvPr/>
          </p:nvSpPr>
          <p:spPr bwMode="auto">
            <a:xfrm>
              <a:off x="7863234" y="285750"/>
              <a:ext cx="877541" cy="2212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1" name="AutoShape 31"/>
            <p:cNvCxnSpPr>
              <a:cxnSpLocks noChangeShapeType="1"/>
            </p:cNvCxnSpPr>
            <p:nvPr/>
          </p:nvCxnSpPr>
          <p:spPr bwMode="auto">
            <a:xfrm>
              <a:off x="787392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32"/>
            <p:cNvCxnSpPr>
              <a:cxnSpLocks noChangeShapeType="1"/>
            </p:cNvCxnSpPr>
            <p:nvPr/>
          </p:nvCxnSpPr>
          <p:spPr bwMode="auto">
            <a:xfrm>
              <a:off x="7873923" y="498116"/>
              <a:ext cx="86685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171138" y="235744"/>
            <a:ext cx="681186" cy="979885"/>
            <a:chOff x="7875175" y="286625"/>
            <a:chExt cx="737590" cy="1306516"/>
          </a:xfrm>
        </p:grpSpPr>
        <p:grpSp>
          <p:nvGrpSpPr>
            <p:cNvPr id="3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w 10000"/>
                  <a:gd name="T9" fmla="*/ 0 h 1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8196188" y="299325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8196188" y="573964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8196188" y="848601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4"/>
            <p:cNvSpPr>
              <a:spLocks noChangeArrowheads="1"/>
            </p:cNvSpPr>
            <p:nvPr/>
          </p:nvSpPr>
          <p:spPr bwMode="auto">
            <a:xfrm>
              <a:off x="8196188" y="1120065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5"/>
            <p:cNvSpPr>
              <a:spLocks noChangeArrowheads="1"/>
            </p:cNvSpPr>
            <p:nvPr/>
          </p:nvSpPr>
          <p:spPr bwMode="auto">
            <a:xfrm>
              <a:off x="8196188" y="1396291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2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44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chemeClr val="folHlink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4" name="Slide Number"/>
          <p:cNvSpPr txBox="1">
            <a:spLocks/>
          </p:cNvSpPr>
          <p:nvPr/>
        </p:nvSpPr>
        <p:spPr bwMode="auto">
          <a:xfrm>
            <a:off x="8773278" y="4988756"/>
            <a:ext cx="168316" cy="11541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defTabSz="685800" fontAlgn="base">
              <a:spcBef>
                <a:spcPct val="0"/>
              </a:spcBef>
              <a:spcAft>
                <a:spcPct val="0"/>
              </a:spcAft>
              <a:defRPr/>
            </a:pPr>
            <a:fld id="{28E661F0-43BB-4A00-9A46-AAEE98F00DA6}" type="slidenum">
              <a:rPr lang="en-US" altLang="es-CL" sz="750" smtClean="0">
                <a:solidFill>
                  <a:srgbClr val="FFFFFF"/>
                </a:solidFill>
              </a:rPr>
              <a:pPr algn="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s-CL" sz="750">
              <a:solidFill>
                <a:srgbClr val="FFFFFF"/>
              </a:solidFill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349729" y="2141935"/>
            <a:ext cx="234553" cy="190500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2828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7400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1972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6544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00" y="1600"/>
              <a:ext cx="160" cy="160"/>
            </a:xfrm>
            <a:custGeom>
              <a:avLst/>
              <a:gdLst>
                <a:gd name="T0" fmla="*/ 0 w 10000"/>
                <a:gd name="T1" fmla="*/ 0 h 10000"/>
                <a:gd name="T2" fmla="*/ 0 w 10000"/>
                <a:gd name="T3" fmla="*/ 0 h 1000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000" h="10000" stroke="0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  <a:lnTo>
                    <a:pt x="5000" y="5000"/>
                  </a:lnTo>
                  <a:lnTo>
                    <a:pt x="5000" y="0"/>
                  </a:lnTo>
                  <a:close/>
                </a:path>
                <a:path w="10000" h="10000" fill="none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</p:grpSp>
      <p:sp>
        <p:nvSpPr>
          <p:cNvPr id="58" name="Rectangle 74"/>
          <p:cNvSpPr>
            <a:spLocks noChangeArrowheads="1"/>
          </p:cNvSpPr>
          <p:nvPr/>
        </p:nvSpPr>
        <p:spPr bwMode="auto">
          <a:xfrm>
            <a:off x="0" y="4914900"/>
            <a:ext cx="9144000" cy="228600"/>
          </a:xfrm>
          <a:prstGeom prst="rect">
            <a:avLst/>
          </a:prstGeom>
          <a:gradFill rotWithShape="1">
            <a:gsLst>
              <a:gs pos="0">
                <a:srgbClr val="C00000"/>
              </a:gs>
              <a:gs pos="52000">
                <a:srgbClr val="FF4001"/>
              </a:gs>
              <a:gs pos="91000">
                <a:srgbClr val="FFFFFF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67500" bIns="675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200">
              <a:solidFill>
                <a:srgbClr val="FFFFFF"/>
              </a:solidFill>
            </a:endParaRPr>
          </a:p>
        </p:txBody>
      </p:sp>
      <p:sp>
        <p:nvSpPr>
          <p:cNvPr id="59" name="Footer Placeholder 33"/>
          <p:cNvSpPr txBox="1">
            <a:spLocks/>
          </p:cNvSpPr>
          <p:nvPr/>
        </p:nvSpPr>
        <p:spPr bwMode="gray">
          <a:xfrm>
            <a:off x="191691" y="4947048"/>
            <a:ext cx="5200650" cy="173060"/>
          </a:xfrm>
          <a:prstGeom prst="rect">
            <a:avLst/>
          </a:prstGeom>
          <a:noFill/>
        </p:spPr>
        <p:txBody>
          <a:bodyPr lIns="0" tIns="34258" rIns="68516" bIns="34258">
            <a:spAutoFit/>
          </a:bodyPr>
          <a:lstStyle>
            <a:defPPr>
              <a:defRPr lang="en-US"/>
            </a:defPPr>
            <a:lvl1pPr marL="0" algn="l" defTabSz="913569" rtl="0" eaLnBrk="1" latinLnBrk="0" hangingPunct="1">
              <a:defRPr lang="nl-NL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6784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69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52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38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20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07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489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273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675" dirty="0">
                <a:solidFill>
                  <a:srgbClr val="FFFFFF"/>
                </a:solidFill>
              </a:rPr>
              <a:t>VTR | REUNION PRIORIDADES ESTRATEGICAS G100</a:t>
            </a:r>
          </a:p>
        </p:txBody>
      </p:sp>
      <p:sp>
        <p:nvSpPr>
          <p:cNvPr id="60" name="Slide Number Placeholder 34"/>
          <p:cNvSpPr txBox="1">
            <a:spLocks/>
          </p:cNvSpPr>
          <p:nvPr/>
        </p:nvSpPr>
        <p:spPr bwMode="gray">
          <a:xfrm>
            <a:off x="8592742" y="4939695"/>
            <a:ext cx="450056" cy="173060"/>
          </a:xfrm>
          <a:prstGeom prst="rect">
            <a:avLst/>
          </a:prstGeom>
        </p:spPr>
        <p:txBody>
          <a:bodyPr lIns="68516" tIns="34258" rIns="0" bIns="34258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defTabSz="684610" fontAlgn="base">
              <a:spcBef>
                <a:spcPct val="0"/>
              </a:spcBef>
              <a:spcAft>
                <a:spcPct val="0"/>
              </a:spcAft>
              <a:defRPr/>
            </a:pPr>
            <a:fld id="{8079FF62-C9B3-4462-B65E-82B237CA8856}" type="slidenum">
              <a:rPr lang="en-US" altLang="es-CL" sz="675" smtClean="0">
                <a:solidFill>
                  <a:srgbClr val="7F7F7F"/>
                </a:solidFill>
              </a:rPr>
              <a:pPr algn="r" defTabSz="68461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s-CL" sz="675">
              <a:solidFill>
                <a:srgbClr val="7F7F7F"/>
              </a:solidFill>
            </a:endParaRPr>
          </a:p>
        </p:txBody>
      </p:sp>
      <p:graphicFrame>
        <p:nvGraphicFramePr>
          <p:cNvPr id="61" name="Object 25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05" name="Diapositiva de think-cell" r:id="rId25" imgW="38100" imgH="38100" progId="TCLayout.ActiveDocument.1">
                  <p:embed/>
                </p:oleObj>
              </mc:Choice>
              <mc:Fallback>
                <p:oleObj name="Diapositiva de think-cell" r:id="rId2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3147" y="179188"/>
            <a:ext cx="7724443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2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819350"/>
      </p:ext>
    </p:extLst>
  </p:cSld>
  <p:clrMapOvr>
    <a:masterClrMapping/>
  </p:clrMapOvr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8" name="Diapositiva de think-cell" r:id="rId23" imgW="38100" imgH="38100" progId="TCLayout.ActiveDocument.1">
                  <p:embed/>
                </p:oleObj>
              </mc:Choice>
              <mc:Fallback>
                <p:oleObj name="Diapositiva de think-cell" r:id="rId23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213123" y="14288"/>
            <a:ext cx="64440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s-CL" sz="1050">
                <a:solidFill>
                  <a:srgbClr val="80808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213122" y="441722"/>
            <a:ext cx="77247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7" name="McK Slide Elements" hidden="1"/>
          <p:cNvGrpSpPr>
            <a:grpSpLocks/>
          </p:cNvGrpSpPr>
          <p:nvPr/>
        </p:nvGrpSpPr>
        <p:grpSpPr bwMode="auto">
          <a:xfrm>
            <a:off x="213123" y="4604154"/>
            <a:ext cx="8712994" cy="284560"/>
            <a:chOff x="75" y="3921"/>
            <a:chExt cx="645" cy="234"/>
          </a:xfrm>
        </p:grpSpPr>
        <p:sp>
          <p:nvSpPr>
            <p:cNvPr id="8" name="McK 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750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9" name="McK 5. Source"/>
            <p:cNvSpPr>
              <a:spLocks noChangeArrowheads="1"/>
            </p:cNvSpPr>
            <p:nvPr/>
          </p:nvSpPr>
          <p:spPr bwMode="auto">
            <a:xfrm>
              <a:off x="75" y="4060"/>
              <a:ext cx="6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12775" indent="-612775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750">
                  <a:solidFill>
                    <a:srgbClr val="00000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OURCE: Source</a:t>
              </a:r>
            </a:p>
          </p:txBody>
        </p:sp>
      </p:grp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482329" y="863091"/>
            <a:ext cx="4350544" cy="388259"/>
            <a:chOff x="915" y="710"/>
            <a:chExt cx="2686" cy="320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1200" b="1">
                  <a:solidFill>
                    <a:srgbClr val="00000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itle</a:t>
              </a:r>
            </a:p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1200">
                  <a:solidFill>
                    <a:srgbClr val="80808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Unit of measure</a:t>
              </a:r>
            </a:p>
          </p:txBody>
        </p:sp>
      </p:grpSp>
      <p:grpSp>
        <p:nvGrpSpPr>
          <p:cNvPr id="13" name="LegendBoxes" hidden="1"/>
          <p:cNvGrpSpPr>
            <a:grpSpLocks/>
          </p:cNvGrpSpPr>
          <p:nvPr/>
        </p:nvGrpSpPr>
        <p:grpSpPr bwMode="auto">
          <a:xfrm>
            <a:off x="7233051" y="235744"/>
            <a:ext cx="619674" cy="747713"/>
            <a:chOff x="4936" y="176"/>
            <a:chExt cx="423" cy="628"/>
          </a:xfrm>
        </p:grpSpPr>
        <p:sp>
          <p:nvSpPr>
            <p:cNvPr id="1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1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1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2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</p:grpSp>
      <p:grpSp>
        <p:nvGrpSpPr>
          <p:cNvPr id="22" name="LegendLines" hidden="1"/>
          <p:cNvGrpSpPr>
            <a:grpSpLocks/>
          </p:cNvGrpSpPr>
          <p:nvPr/>
        </p:nvGrpSpPr>
        <p:grpSpPr bwMode="auto">
          <a:xfrm>
            <a:off x="6948485" y="235744"/>
            <a:ext cx="904234" cy="547688"/>
            <a:chOff x="4750" y="176"/>
            <a:chExt cx="617" cy="460"/>
          </a:xfrm>
        </p:grpSpPr>
        <p:sp>
          <p:nvSpPr>
            <p:cNvPr id="2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2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2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9" name="McKSticker" hidden="1"/>
          <p:cNvGrpSpPr>
            <a:grpSpLocks/>
          </p:cNvGrpSpPr>
          <p:nvPr/>
        </p:nvGrpSpPr>
        <p:grpSpPr bwMode="auto">
          <a:xfrm>
            <a:off x="7127932" y="235744"/>
            <a:ext cx="809966" cy="166199"/>
            <a:chOff x="7863234" y="285750"/>
            <a:chExt cx="877541" cy="221224"/>
          </a:xfrm>
        </p:grpSpPr>
        <p:sp>
          <p:nvSpPr>
            <p:cNvPr id="30" name="StickerRectangle"/>
            <p:cNvSpPr>
              <a:spLocks noChangeArrowheads="1"/>
            </p:cNvSpPr>
            <p:nvPr/>
          </p:nvSpPr>
          <p:spPr bwMode="auto">
            <a:xfrm>
              <a:off x="7863234" y="285750"/>
              <a:ext cx="877541" cy="2212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1" name="AutoShape 31"/>
            <p:cNvCxnSpPr>
              <a:cxnSpLocks noChangeShapeType="1"/>
            </p:cNvCxnSpPr>
            <p:nvPr/>
          </p:nvCxnSpPr>
          <p:spPr bwMode="auto">
            <a:xfrm>
              <a:off x="787392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32"/>
            <p:cNvCxnSpPr>
              <a:cxnSpLocks noChangeShapeType="1"/>
            </p:cNvCxnSpPr>
            <p:nvPr/>
          </p:nvCxnSpPr>
          <p:spPr bwMode="auto">
            <a:xfrm>
              <a:off x="7873923" y="498116"/>
              <a:ext cx="86685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LegendMoons" hidden="1"/>
          <p:cNvGrpSpPr>
            <a:grpSpLocks/>
          </p:cNvGrpSpPr>
          <p:nvPr/>
        </p:nvGrpSpPr>
        <p:grpSpPr bwMode="auto">
          <a:xfrm>
            <a:off x="7171138" y="235744"/>
            <a:ext cx="681186" cy="979885"/>
            <a:chOff x="7875175" y="286625"/>
            <a:chExt cx="737590" cy="1306516"/>
          </a:xfrm>
        </p:grpSpPr>
        <p:grpSp>
          <p:nvGrpSpPr>
            <p:cNvPr id="3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52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3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48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49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w 10000"/>
                  <a:gd name="T9" fmla="*/ 0 h 1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8196188" y="299325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8196188" y="573964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8196188" y="848601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4"/>
            <p:cNvSpPr>
              <a:spLocks noChangeArrowheads="1"/>
            </p:cNvSpPr>
            <p:nvPr/>
          </p:nvSpPr>
          <p:spPr bwMode="auto">
            <a:xfrm>
              <a:off x="8196188" y="1120065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5"/>
            <p:cNvSpPr>
              <a:spLocks noChangeArrowheads="1"/>
            </p:cNvSpPr>
            <p:nvPr/>
          </p:nvSpPr>
          <p:spPr bwMode="auto">
            <a:xfrm>
              <a:off x="8196188" y="1396291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2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46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3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44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45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chemeClr val="folHlink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4" name="Slide Number"/>
          <p:cNvSpPr txBox="1">
            <a:spLocks/>
          </p:cNvSpPr>
          <p:nvPr/>
        </p:nvSpPr>
        <p:spPr bwMode="auto">
          <a:xfrm>
            <a:off x="8773278" y="4988756"/>
            <a:ext cx="168316" cy="11541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defTabSz="685800" fontAlgn="base">
              <a:spcBef>
                <a:spcPct val="0"/>
              </a:spcBef>
              <a:spcAft>
                <a:spcPct val="0"/>
              </a:spcAft>
              <a:defRPr/>
            </a:pPr>
            <a:fld id="{88F0C0F0-F40F-46A0-99E2-3A4BD1952519}" type="slidenum">
              <a:rPr lang="en-US" altLang="es-CL" sz="750" smtClean="0">
                <a:solidFill>
                  <a:srgbClr val="FFFFFF"/>
                </a:solidFill>
              </a:rPr>
              <a:pPr algn="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s-CL" sz="750">
              <a:solidFill>
                <a:srgbClr val="FFFFFF"/>
              </a:solidFill>
            </a:endParaRPr>
          </a:p>
        </p:txBody>
      </p:sp>
      <p:grpSp>
        <p:nvGrpSpPr>
          <p:cNvPr id="55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349729" y="2141935"/>
            <a:ext cx="234553" cy="190500"/>
            <a:chOff x="1600" y="1600"/>
            <a:chExt cx="160" cy="160"/>
          </a:xfrm>
        </p:grpSpPr>
        <p:sp>
          <p:nvSpPr>
            <p:cNvPr id="56" name="Oval 90"/>
            <p:cNvSpPr>
              <a:spLocks noChangeAspect="1"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2828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7400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1972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6544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57" name="Arc 9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1600" y="1600"/>
              <a:ext cx="160" cy="160"/>
            </a:xfrm>
            <a:custGeom>
              <a:avLst/>
              <a:gdLst>
                <a:gd name="T0" fmla="*/ 0 w 10000"/>
                <a:gd name="T1" fmla="*/ 0 h 10000"/>
                <a:gd name="T2" fmla="*/ 0 w 10000"/>
                <a:gd name="T3" fmla="*/ 0 h 1000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000" h="10000" stroke="0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  <a:lnTo>
                    <a:pt x="5000" y="5000"/>
                  </a:lnTo>
                  <a:lnTo>
                    <a:pt x="5000" y="0"/>
                  </a:lnTo>
                  <a:close/>
                </a:path>
                <a:path w="10000" h="10000" fill="none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</p:grpSp>
      <p:sp>
        <p:nvSpPr>
          <p:cNvPr id="58" name="Rectangle 74"/>
          <p:cNvSpPr>
            <a:spLocks noChangeArrowheads="1"/>
          </p:cNvSpPr>
          <p:nvPr/>
        </p:nvSpPr>
        <p:spPr bwMode="auto">
          <a:xfrm>
            <a:off x="0" y="4914900"/>
            <a:ext cx="9144000" cy="228600"/>
          </a:xfrm>
          <a:prstGeom prst="rect">
            <a:avLst/>
          </a:prstGeom>
          <a:gradFill rotWithShape="1">
            <a:gsLst>
              <a:gs pos="0">
                <a:srgbClr val="C00000"/>
              </a:gs>
              <a:gs pos="52000">
                <a:srgbClr val="FF4001"/>
              </a:gs>
              <a:gs pos="91000">
                <a:srgbClr val="FFFFFF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67500" bIns="675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200">
              <a:solidFill>
                <a:srgbClr val="FFFFFF"/>
              </a:solidFill>
            </a:endParaRPr>
          </a:p>
        </p:txBody>
      </p:sp>
      <p:sp>
        <p:nvSpPr>
          <p:cNvPr id="59" name="Footer Placeholder 33"/>
          <p:cNvSpPr txBox="1">
            <a:spLocks/>
          </p:cNvSpPr>
          <p:nvPr/>
        </p:nvSpPr>
        <p:spPr bwMode="gray">
          <a:xfrm>
            <a:off x="191691" y="4947048"/>
            <a:ext cx="5200650" cy="173060"/>
          </a:xfrm>
          <a:prstGeom prst="rect">
            <a:avLst/>
          </a:prstGeom>
          <a:noFill/>
        </p:spPr>
        <p:txBody>
          <a:bodyPr lIns="0" tIns="34258" rIns="68516" bIns="34258">
            <a:spAutoFit/>
          </a:bodyPr>
          <a:lstStyle>
            <a:defPPr>
              <a:defRPr lang="en-US"/>
            </a:defPPr>
            <a:lvl1pPr marL="0" algn="l" defTabSz="913569" rtl="0" eaLnBrk="1" latinLnBrk="0" hangingPunct="1">
              <a:defRPr lang="nl-NL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6784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69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52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38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20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07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489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273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675" dirty="0">
                <a:solidFill>
                  <a:srgbClr val="FFFFFF"/>
                </a:solidFill>
              </a:rPr>
              <a:t>VTR | REUNION PRIORIDADES ESTRATEGICAS G100</a:t>
            </a:r>
          </a:p>
        </p:txBody>
      </p:sp>
      <p:sp>
        <p:nvSpPr>
          <p:cNvPr id="60" name="Slide Number Placeholder 34"/>
          <p:cNvSpPr txBox="1">
            <a:spLocks/>
          </p:cNvSpPr>
          <p:nvPr/>
        </p:nvSpPr>
        <p:spPr bwMode="gray">
          <a:xfrm>
            <a:off x="8592742" y="4939695"/>
            <a:ext cx="450056" cy="173060"/>
          </a:xfrm>
          <a:prstGeom prst="rect">
            <a:avLst/>
          </a:prstGeom>
        </p:spPr>
        <p:txBody>
          <a:bodyPr lIns="68516" tIns="34258" rIns="0" bIns="34258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defTabSz="684610" fontAlgn="base">
              <a:spcBef>
                <a:spcPct val="0"/>
              </a:spcBef>
              <a:spcAft>
                <a:spcPct val="0"/>
              </a:spcAft>
              <a:defRPr/>
            </a:pPr>
            <a:fld id="{80507BB6-2C4C-47E9-876C-008996B0D8C9}" type="slidenum">
              <a:rPr lang="en-US" altLang="es-CL" sz="675" smtClean="0">
                <a:solidFill>
                  <a:srgbClr val="7F7F7F"/>
                </a:solidFill>
              </a:rPr>
              <a:pPr algn="r" defTabSz="68461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s-CL" sz="675">
              <a:solidFill>
                <a:srgbClr val="7F7F7F"/>
              </a:solidFill>
            </a:endParaRPr>
          </a:p>
        </p:txBody>
      </p:sp>
      <p:graphicFrame>
        <p:nvGraphicFramePr>
          <p:cNvPr id="61" name="Object 25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192" y="1192"/>
          <a:ext cx="238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9" name="Diapositiva de think-cell" r:id="rId25" imgW="38100" imgH="38100" progId="TCLayout.ActiveDocument.1">
                  <p:embed/>
                </p:oleObj>
              </mc:Choice>
              <mc:Fallback>
                <p:oleObj name="Diapositiva de think-cell" r:id="rId2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192"/>
                        <a:ext cx="2381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3147" y="179188"/>
            <a:ext cx="7724443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/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2" name="Marcador de pie de página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304090"/>
      </p:ext>
    </p:extLst>
  </p:cSld>
  <p:clrMapOvr>
    <a:masterClrMapping/>
  </p:clrMapOvr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me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19" name="Diapositiva de think-cell" r:id="rId22" imgW="38100" imgH="38100" progId="TCLayout.ActiveDocument.1">
                  <p:embed/>
                </p:oleObj>
              </mc:Choice>
              <mc:Fallback>
                <p:oleObj name="Diapositiva de think-cell" r:id="rId22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McK 1. On-page tracker" hidden="1"/>
          <p:cNvSpPr>
            <a:spLocks noChangeArrowheads="1"/>
          </p:cNvSpPr>
          <p:nvPr/>
        </p:nvSpPr>
        <p:spPr bwMode="auto">
          <a:xfrm>
            <a:off x="213123" y="14288"/>
            <a:ext cx="64440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s-CL" sz="1050">
                <a:solidFill>
                  <a:srgbClr val="80808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ACKER</a:t>
            </a:r>
          </a:p>
        </p:txBody>
      </p:sp>
      <p:sp>
        <p:nvSpPr>
          <p:cNvPr id="32" name="McK 3. Unit of measure" hidden="1"/>
          <p:cNvSpPr txBox="1">
            <a:spLocks noChangeArrowheads="1"/>
          </p:cNvSpPr>
          <p:nvPr/>
        </p:nvSpPr>
        <p:spPr bwMode="auto">
          <a:xfrm>
            <a:off x="213122" y="441722"/>
            <a:ext cx="77247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33" name="McK Slide Elements" hidden="1"/>
          <p:cNvGrpSpPr>
            <a:grpSpLocks/>
          </p:cNvGrpSpPr>
          <p:nvPr/>
        </p:nvGrpSpPr>
        <p:grpSpPr bwMode="auto">
          <a:xfrm>
            <a:off x="213123" y="4604154"/>
            <a:ext cx="8712994" cy="284560"/>
            <a:chOff x="75" y="3921"/>
            <a:chExt cx="645" cy="234"/>
          </a:xfrm>
        </p:grpSpPr>
        <p:sp>
          <p:nvSpPr>
            <p:cNvPr id="34" name="McK 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750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35" name="McK 5. Source"/>
            <p:cNvSpPr>
              <a:spLocks noChangeArrowheads="1"/>
            </p:cNvSpPr>
            <p:nvPr/>
          </p:nvSpPr>
          <p:spPr bwMode="auto">
            <a:xfrm>
              <a:off x="75" y="4060"/>
              <a:ext cx="6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12775" indent="-612775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750">
                  <a:solidFill>
                    <a:srgbClr val="00000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OURCE: Source</a:t>
              </a:r>
            </a:p>
          </p:txBody>
        </p:sp>
      </p:grpSp>
      <p:grpSp>
        <p:nvGrpSpPr>
          <p:cNvPr id="36" name="ACET" hidden="1"/>
          <p:cNvGrpSpPr>
            <a:grpSpLocks/>
          </p:cNvGrpSpPr>
          <p:nvPr/>
        </p:nvGrpSpPr>
        <p:grpSpPr bwMode="auto">
          <a:xfrm>
            <a:off x="1482329" y="863091"/>
            <a:ext cx="4350544" cy="388259"/>
            <a:chOff x="915" y="710"/>
            <a:chExt cx="2686" cy="320"/>
          </a:xfrm>
        </p:grpSpPr>
        <p:cxnSp>
          <p:nvCxnSpPr>
            <p:cNvPr id="37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1200" b="1">
                  <a:solidFill>
                    <a:srgbClr val="00000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itle</a:t>
              </a:r>
            </a:p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1200">
                  <a:solidFill>
                    <a:srgbClr val="80808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Unit of measure</a:t>
              </a:r>
            </a:p>
          </p:txBody>
        </p:sp>
      </p:grpSp>
      <p:grpSp>
        <p:nvGrpSpPr>
          <p:cNvPr id="39" name="LegendBoxes" hidden="1"/>
          <p:cNvGrpSpPr>
            <a:grpSpLocks/>
          </p:cNvGrpSpPr>
          <p:nvPr/>
        </p:nvGrpSpPr>
        <p:grpSpPr bwMode="auto">
          <a:xfrm>
            <a:off x="7233051" y="235744"/>
            <a:ext cx="619674" cy="747713"/>
            <a:chOff x="4936" y="176"/>
            <a:chExt cx="423" cy="628"/>
          </a:xfrm>
        </p:grpSpPr>
        <p:sp>
          <p:nvSpPr>
            <p:cNvPr id="4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</p:grpSp>
      <p:grpSp>
        <p:nvGrpSpPr>
          <p:cNvPr id="48" name="LegendLines" hidden="1"/>
          <p:cNvGrpSpPr>
            <a:grpSpLocks/>
          </p:cNvGrpSpPr>
          <p:nvPr/>
        </p:nvGrpSpPr>
        <p:grpSpPr bwMode="auto">
          <a:xfrm>
            <a:off x="6948485" y="235744"/>
            <a:ext cx="904234" cy="547688"/>
            <a:chOff x="4750" y="176"/>
            <a:chExt cx="617" cy="460"/>
          </a:xfrm>
        </p:grpSpPr>
        <p:sp>
          <p:nvSpPr>
            <p:cNvPr id="4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5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5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5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55" name="McKSticker" hidden="1"/>
          <p:cNvGrpSpPr>
            <a:grpSpLocks/>
          </p:cNvGrpSpPr>
          <p:nvPr/>
        </p:nvGrpSpPr>
        <p:grpSpPr bwMode="auto">
          <a:xfrm>
            <a:off x="7127932" y="235744"/>
            <a:ext cx="809966" cy="166199"/>
            <a:chOff x="7863234" y="285750"/>
            <a:chExt cx="877541" cy="221224"/>
          </a:xfrm>
        </p:grpSpPr>
        <p:sp>
          <p:nvSpPr>
            <p:cNvPr id="56" name="StickerRectangle"/>
            <p:cNvSpPr>
              <a:spLocks noChangeArrowheads="1"/>
            </p:cNvSpPr>
            <p:nvPr/>
          </p:nvSpPr>
          <p:spPr bwMode="auto">
            <a:xfrm>
              <a:off x="7863234" y="285750"/>
              <a:ext cx="877541" cy="22122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57" name="AutoShape 31"/>
            <p:cNvCxnSpPr>
              <a:cxnSpLocks noChangeShapeType="1"/>
            </p:cNvCxnSpPr>
            <p:nvPr/>
          </p:nvCxnSpPr>
          <p:spPr bwMode="auto">
            <a:xfrm>
              <a:off x="7873923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8" name="AutoShape 32"/>
            <p:cNvCxnSpPr>
              <a:cxnSpLocks noChangeShapeType="1"/>
            </p:cNvCxnSpPr>
            <p:nvPr/>
          </p:nvCxnSpPr>
          <p:spPr bwMode="auto">
            <a:xfrm>
              <a:off x="7873923" y="498116"/>
              <a:ext cx="86685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9" name="LegendMoons" hidden="1"/>
          <p:cNvGrpSpPr>
            <a:grpSpLocks/>
          </p:cNvGrpSpPr>
          <p:nvPr/>
        </p:nvGrpSpPr>
        <p:grpSpPr bwMode="auto">
          <a:xfrm>
            <a:off x="7171138" y="235744"/>
            <a:ext cx="681186" cy="979885"/>
            <a:chOff x="7875175" y="286625"/>
            <a:chExt cx="737590" cy="1306516"/>
          </a:xfrm>
        </p:grpSpPr>
        <p:grpSp>
          <p:nvGrpSpPr>
            <p:cNvPr id="60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78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1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7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2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74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w 10000"/>
                  <a:gd name="T9" fmla="*/ 0 h 1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3" name="Legend1"/>
            <p:cNvSpPr>
              <a:spLocks noChangeArrowheads="1"/>
            </p:cNvSpPr>
            <p:nvPr/>
          </p:nvSpPr>
          <p:spPr bwMode="auto">
            <a:xfrm>
              <a:off x="8196188" y="299325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4" name="Legend2"/>
            <p:cNvSpPr>
              <a:spLocks noChangeArrowheads="1"/>
            </p:cNvSpPr>
            <p:nvPr/>
          </p:nvSpPr>
          <p:spPr bwMode="auto">
            <a:xfrm>
              <a:off x="8196188" y="573964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3"/>
            <p:cNvSpPr>
              <a:spLocks noChangeArrowheads="1"/>
            </p:cNvSpPr>
            <p:nvPr/>
          </p:nvSpPr>
          <p:spPr bwMode="auto">
            <a:xfrm>
              <a:off x="8196188" y="848601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6" name="Legend4"/>
            <p:cNvSpPr>
              <a:spLocks noChangeArrowheads="1"/>
            </p:cNvSpPr>
            <p:nvPr/>
          </p:nvSpPr>
          <p:spPr bwMode="auto">
            <a:xfrm>
              <a:off x="8196188" y="1120065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5"/>
            <p:cNvSpPr>
              <a:spLocks noChangeArrowheads="1"/>
            </p:cNvSpPr>
            <p:nvPr/>
          </p:nvSpPr>
          <p:spPr bwMode="auto">
            <a:xfrm>
              <a:off x="8196188" y="1396291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8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72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73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9" name="MoonLegend1"/>
            <p:cNvGrpSpPr>
              <a:grpSpLocks noChangeAspect="1"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chemeClr val="folHlink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0" name="Slide Number"/>
          <p:cNvSpPr txBox="1">
            <a:spLocks/>
          </p:cNvSpPr>
          <p:nvPr/>
        </p:nvSpPr>
        <p:spPr bwMode="auto">
          <a:xfrm>
            <a:off x="8773278" y="4988756"/>
            <a:ext cx="168316" cy="11541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defTabSz="685800" fontAlgn="base">
              <a:spcBef>
                <a:spcPct val="0"/>
              </a:spcBef>
              <a:spcAft>
                <a:spcPct val="0"/>
              </a:spcAft>
              <a:defRPr/>
            </a:pPr>
            <a:fld id="{C32A6177-C160-460F-8099-281FCDF0321A}" type="slidenum">
              <a:rPr lang="en-US" altLang="es-CL" sz="750" smtClean="0">
                <a:solidFill>
                  <a:srgbClr val="FFFFFF"/>
                </a:solidFill>
              </a:rPr>
              <a:pPr algn="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s-CL" sz="750">
              <a:solidFill>
                <a:srgbClr val="FFFFFF"/>
              </a:solidFill>
            </a:endParaRPr>
          </a:p>
        </p:txBody>
      </p:sp>
      <p:grpSp>
        <p:nvGrpSpPr>
          <p:cNvPr id="81" name="McK Moon" hidden="1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349729" y="2141935"/>
            <a:ext cx="234553" cy="190500"/>
            <a:chOff x="1600" y="1600"/>
            <a:chExt cx="160" cy="160"/>
          </a:xfrm>
        </p:grpSpPr>
        <p:sp>
          <p:nvSpPr>
            <p:cNvPr id="82" name="Oval 90"/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2828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7400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1972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6544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83" name="Arc 9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600" y="1600"/>
              <a:ext cx="160" cy="160"/>
            </a:xfrm>
            <a:custGeom>
              <a:avLst/>
              <a:gdLst>
                <a:gd name="T0" fmla="*/ 0 w 10000"/>
                <a:gd name="T1" fmla="*/ 0 h 10000"/>
                <a:gd name="T2" fmla="*/ 0 w 10000"/>
                <a:gd name="T3" fmla="*/ 0 h 1000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000" h="10000" stroke="0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  <a:lnTo>
                    <a:pt x="5000" y="5000"/>
                  </a:lnTo>
                  <a:lnTo>
                    <a:pt x="5000" y="0"/>
                  </a:lnTo>
                  <a:close/>
                </a:path>
                <a:path w="10000" h="10000" fill="none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</p:grpSp>
      <p:sp>
        <p:nvSpPr>
          <p:cNvPr id="84" name="Rectangle 74"/>
          <p:cNvSpPr>
            <a:spLocks noChangeArrowheads="1"/>
          </p:cNvSpPr>
          <p:nvPr/>
        </p:nvSpPr>
        <p:spPr bwMode="auto">
          <a:xfrm>
            <a:off x="0" y="4914900"/>
            <a:ext cx="9144000" cy="228600"/>
          </a:xfrm>
          <a:prstGeom prst="rect">
            <a:avLst/>
          </a:prstGeom>
          <a:gradFill rotWithShape="1">
            <a:gsLst>
              <a:gs pos="0">
                <a:srgbClr val="C00000"/>
              </a:gs>
              <a:gs pos="52000">
                <a:srgbClr val="FF4001"/>
              </a:gs>
              <a:gs pos="91000">
                <a:srgbClr val="FFFFFF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67500" bIns="675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200">
              <a:solidFill>
                <a:srgbClr val="FFFFFF"/>
              </a:solidFill>
            </a:endParaRPr>
          </a:p>
        </p:txBody>
      </p:sp>
      <p:sp>
        <p:nvSpPr>
          <p:cNvPr id="85" name="Footer Placeholder 33"/>
          <p:cNvSpPr txBox="1">
            <a:spLocks/>
          </p:cNvSpPr>
          <p:nvPr/>
        </p:nvSpPr>
        <p:spPr bwMode="gray">
          <a:xfrm>
            <a:off x="191691" y="4947048"/>
            <a:ext cx="5200650" cy="173060"/>
          </a:xfrm>
          <a:prstGeom prst="rect">
            <a:avLst/>
          </a:prstGeom>
          <a:noFill/>
        </p:spPr>
        <p:txBody>
          <a:bodyPr lIns="0" tIns="34258" rIns="68516" bIns="34258">
            <a:spAutoFit/>
          </a:bodyPr>
          <a:lstStyle>
            <a:defPPr>
              <a:defRPr lang="en-US"/>
            </a:defPPr>
            <a:lvl1pPr marL="0" algn="l" defTabSz="913569" rtl="0" eaLnBrk="1" latinLnBrk="0" hangingPunct="1">
              <a:defRPr lang="nl-NL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6784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69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52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38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20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07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489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273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675" dirty="0">
                <a:solidFill>
                  <a:srgbClr val="FFFFFF"/>
                </a:solidFill>
              </a:rPr>
              <a:t>VTR | REUNION PRIORIDADES ESTRATEGICAS G100</a:t>
            </a:r>
          </a:p>
        </p:txBody>
      </p:sp>
      <p:sp>
        <p:nvSpPr>
          <p:cNvPr id="86" name="Slide Number Placeholder 34"/>
          <p:cNvSpPr txBox="1">
            <a:spLocks/>
          </p:cNvSpPr>
          <p:nvPr/>
        </p:nvSpPr>
        <p:spPr bwMode="gray">
          <a:xfrm>
            <a:off x="8592742" y="4939695"/>
            <a:ext cx="450056" cy="173060"/>
          </a:xfrm>
          <a:prstGeom prst="rect">
            <a:avLst/>
          </a:prstGeom>
        </p:spPr>
        <p:txBody>
          <a:bodyPr lIns="68516" tIns="34258" rIns="0" bIns="34258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defTabSz="684610" fontAlgn="base">
              <a:spcBef>
                <a:spcPct val="0"/>
              </a:spcBef>
              <a:spcAft>
                <a:spcPct val="0"/>
              </a:spcAft>
              <a:defRPr/>
            </a:pPr>
            <a:fld id="{5680164E-CB4C-410F-BFA1-33692144DB3E}" type="slidenum">
              <a:rPr lang="en-US" altLang="es-CL" sz="675" smtClean="0">
                <a:solidFill>
                  <a:srgbClr val="7F7F7F"/>
                </a:solidFill>
              </a:rPr>
              <a:pPr algn="r" defTabSz="68461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s-CL" sz="675">
              <a:solidFill>
                <a:srgbClr val="7F7F7F"/>
              </a:solidFill>
            </a:endParaRPr>
          </a:p>
        </p:txBody>
      </p:sp>
      <p:sp>
        <p:nvSpPr>
          <p:cNvPr id="87" name="Rectángulo"/>
          <p:cNvSpPr>
            <a:spLocks noChangeArrowheads="1"/>
          </p:cNvSpPr>
          <p:nvPr userDrawn="1"/>
        </p:nvSpPr>
        <p:spPr bwMode="auto">
          <a:xfrm>
            <a:off x="-11907" y="-9525"/>
            <a:ext cx="9167813" cy="5162550"/>
          </a:xfrm>
          <a:prstGeom prst="rect">
            <a:avLst/>
          </a:prstGeom>
          <a:solidFill>
            <a:srgbClr val="EA5B0C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6789" tIns="26789" rIns="26789" bIns="26789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684610"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s-CL" sz="1200">
              <a:solidFill>
                <a:srgbClr val="FFFFFF"/>
              </a:solidFill>
            </a:endParaRPr>
          </a:p>
        </p:txBody>
      </p:sp>
      <p:sp>
        <p:nvSpPr>
          <p:cNvPr id="88" name="Rectángulo"/>
          <p:cNvSpPr>
            <a:spLocks noChangeArrowheads="1"/>
          </p:cNvSpPr>
          <p:nvPr/>
        </p:nvSpPr>
        <p:spPr bwMode="auto">
          <a:xfrm>
            <a:off x="-1191" y="0"/>
            <a:ext cx="9146382" cy="2264569"/>
          </a:xfrm>
          <a:prstGeom prst="rect">
            <a:avLst/>
          </a:prstGeom>
          <a:gradFill rotWithShape="0">
            <a:gsLst>
              <a:gs pos="0">
                <a:srgbClr val="EE48AD"/>
              </a:gs>
              <a:gs pos="48920">
                <a:srgbClr val="FF6561"/>
              </a:gs>
              <a:gs pos="100000">
                <a:srgbClr val="60B7F0"/>
              </a:gs>
            </a:gsLst>
            <a:lin ang="0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26789" tIns="26789" rIns="26789" bIns="26789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684610"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s-CL" sz="1200">
              <a:solidFill>
                <a:srgbClr val="FFFFFF"/>
              </a:solidFill>
            </a:endParaRPr>
          </a:p>
        </p:txBody>
      </p:sp>
      <p:sp>
        <p:nvSpPr>
          <p:cNvPr id="89" name="Línea"/>
          <p:cNvSpPr>
            <a:spLocks/>
          </p:cNvSpPr>
          <p:nvPr/>
        </p:nvSpPr>
        <p:spPr bwMode="auto">
          <a:xfrm>
            <a:off x="1750219" y="2806304"/>
            <a:ext cx="5723335" cy="1608534"/>
          </a:xfrm>
          <a:custGeom>
            <a:avLst/>
            <a:gdLst>
              <a:gd name="T0" fmla="*/ 3815696 w 21600"/>
              <a:gd name="T1" fmla="*/ 1072263 h 21600"/>
              <a:gd name="T2" fmla="*/ 3815696 w 21600"/>
              <a:gd name="T3" fmla="*/ 1072263 h 21600"/>
              <a:gd name="T4" fmla="*/ 3815696 w 21600"/>
              <a:gd name="T5" fmla="*/ 1072263 h 21600"/>
              <a:gd name="T6" fmla="*/ 3815696 w 21600"/>
              <a:gd name="T7" fmla="*/ 1072263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053" y="17445"/>
                </a:lnTo>
                <a:lnTo>
                  <a:pt x="3977" y="0"/>
                </a:lnTo>
                <a:lnTo>
                  <a:pt x="5271" y="14000"/>
                </a:lnTo>
                <a:lnTo>
                  <a:pt x="6531" y="17950"/>
                </a:lnTo>
                <a:lnTo>
                  <a:pt x="8851" y="13852"/>
                </a:lnTo>
                <a:lnTo>
                  <a:pt x="10771" y="20057"/>
                </a:lnTo>
                <a:lnTo>
                  <a:pt x="12800" y="6662"/>
                </a:lnTo>
                <a:lnTo>
                  <a:pt x="14911" y="16967"/>
                </a:lnTo>
                <a:lnTo>
                  <a:pt x="16612" y="15247"/>
                </a:lnTo>
                <a:lnTo>
                  <a:pt x="18898" y="6960"/>
                </a:lnTo>
                <a:lnTo>
                  <a:pt x="21600" y="1221"/>
                </a:lnTo>
              </a:path>
            </a:pathLst>
          </a:custGeom>
          <a:noFill/>
          <a:ln w="1778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D3C9C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26789" tIns="26789" rIns="26789" bIns="26789" anchor="ctr"/>
          <a:lstStyle/>
          <a:p>
            <a:pPr defTabSz="684610" fontAlgn="base">
              <a:spcBef>
                <a:spcPct val="0"/>
              </a:spcBef>
              <a:spcAft>
                <a:spcPct val="0"/>
              </a:spcAft>
              <a:defRPr/>
            </a:pPr>
            <a:endParaRPr lang="es-CL" sz="1350">
              <a:solidFill>
                <a:srgbClr val="000000"/>
              </a:solidFill>
            </a:endParaRPr>
          </a:p>
        </p:txBody>
      </p:sp>
      <p:sp>
        <p:nvSpPr>
          <p:cNvPr id="90" name="Círculo"/>
          <p:cNvSpPr>
            <a:spLocks noChangeArrowheads="1"/>
          </p:cNvSpPr>
          <p:nvPr/>
        </p:nvSpPr>
        <p:spPr bwMode="auto">
          <a:xfrm>
            <a:off x="1706166" y="4330304"/>
            <a:ext cx="129778" cy="130969"/>
          </a:xfrm>
          <a:prstGeom prst="ellipse">
            <a:avLst/>
          </a:prstGeom>
          <a:solidFill>
            <a:srgbClr val="7D81AF"/>
          </a:solidFill>
          <a:ln w="1016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91" name="Círculo"/>
          <p:cNvSpPr>
            <a:spLocks noChangeArrowheads="1"/>
          </p:cNvSpPr>
          <p:nvPr/>
        </p:nvSpPr>
        <p:spPr bwMode="auto">
          <a:xfrm>
            <a:off x="2232423" y="4000500"/>
            <a:ext cx="129778" cy="129779"/>
          </a:xfrm>
          <a:prstGeom prst="ellipse">
            <a:avLst/>
          </a:prstGeom>
          <a:solidFill>
            <a:srgbClr val="7D81AF"/>
          </a:solidFill>
          <a:ln w="1016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92" name="Círculo"/>
          <p:cNvSpPr>
            <a:spLocks noChangeArrowheads="1"/>
          </p:cNvSpPr>
          <p:nvPr/>
        </p:nvSpPr>
        <p:spPr bwMode="auto">
          <a:xfrm>
            <a:off x="2700338" y="2713435"/>
            <a:ext cx="211931" cy="211931"/>
          </a:xfrm>
          <a:prstGeom prst="ellipse">
            <a:avLst/>
          </a:prstGeom>
          <a:solidFill>
            <a:srgbClr val="AC98B2"/>
          </a:solidFill>
          <a:ln w="1397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93" name="Círculo"/>
          <p:cNvSpPr>
            <a:spLocks noChangeArrowheads="1"/>
          </p:cNvSpPr>
          <p:nvPr/>
        </p:nvSpPr>
        <p:spPr bwMode="auto">
          <a:xfrm>
            <a:off x="3081337" y="3759994"/>
            <a:ext cx="129779" cy="129779"/>
          </a:xfrm>
          <a:prstGeom prst="ellipse">
            <a:avLst/>
          </a:prstGeom>
          <a:solidFill>
            <a:srgbClr val="B7A0B6"/>
          </a:solidFill>
          <a:ln w="1016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94" name="Círculo"/>
          <p:cNvSpPr>
            <a:spLocks noChangeArrowheads="1"/>
          </p:cNvSpPr>
          <p:nvPr/>
        </p:nvSpPr>
        <p:spPr bwMode="auto">
          <a:xfrm>
            <a:off x="3420666" y="4071937"/>
            <a:ext cx="129778" cy="129779"/>
          </a:xfrm>
          <a:prstGeom prst="ellipse">
            <a:avLst/>
          </a:prstGeom>
          <a:solidFill>
            <a:srgbClr val="BAA1B1"/>
          </a:solidFill>
          <a:ln w="1016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95" name="Círculo"/>
          <p:cNvSpPr>
            <a:spLocks noChangeArrowheads="1"/>
          </p:cNvSpPr>
          <p:nvPr/>
        </p:nvSpPr>
        <p:spPr bwMode="auto">
          <a:xfrm>
            <a:off x="4027885" y="3759994"/>
            <a:ext cx="129778" cy="129779"/>
          </a:xfrm>
          <a:prstGeom prst="ellipse">
            <a:avLst/>
          </a:prstGeom>
          <a:solidFill>
            <a:srgbClr val="DFB3B5"/>
          </a:solidFill>
          <a:ln w="1016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96" name="Círculo"/>
          <p:cNvSpPr>
            <a:spLocks noChangeArrowheads="1"/>
          </p:cNvSpPr>
          <p:nvPr/>
        </p:nvSpPr>
        <p:spPr bwMode="auto">
          <a:xfrm>
            <a:off x="4506517" y="4142185"/>
            <a:ext cx="211931" cy="211931"/>
          </a:xfrm>
          <a:prstGeom prst="ellipse">
            <a:avLst/>
          </a:prstGeom>
          <a:solidFill>
            <a:srgbClr val="FDCDBE"/>
          </a:solidFill>
          <a:ln w="1397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97" name="Círculo"/>
          <p:cNvSpPr>
            <a:spLocks noChangeArrowheads="1"/>
          </p:cNvSpPr>
          <p:nvPr/>
        </p:nvSpPr>
        <p:spPr bwMode="auto">
          <a:xfrm>
            <a:off x="5081587" y="3224212"/>
            <a:ext cx="129779" cy="129779"/>
          </a:xfrm>
          <a:prstGeom prst="ellipse">
            <a:avLst/>
          </a:prstGeom>
          <a:solidFill>
            <a:srgbClr val="F9D1C5"/>
          </a:solidFill>
          <a:ln w="1016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98" name="Círculo"/>
          <p:cNvSpPr>
            <a:spLocks noChangeArrowheads="1"/>
          </p:cNvSpPr>
          <p:nvPr/>
        </p:nvSpPr>
        <p:spPr bwMode="auto">
          <a:xfrm>
            <a:off x="5667375" y="4000500"/>
            <a:ext cx="130969" cy="129779"/>
          </a:xfrm>
          <a:prstGeom prst="ellipse">
            <a:avLst/>
          </a:prstGeom>
          <a:solidFill>
            <a:srgbClr val="F4D6CC"/>
          </a:solidFill>
          <a:ln w="1016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99" name="Círculo"/>
          <p:cNvSpPr>
            <a:spLocks noChangeArrowheads="1"/>
          </p:cNvSpPr>
          <p:nvPr/>
        </p:nvSpPr>
        <p:spPr bwMode="auto">
          <a:xfrm>
            <a:off x="6112669" y="3850481"/>
            <a:ext cx="129779" cy="129779"/>
          </a:xfrm>
          <a:prstGeom prst="ellipse">
            <a:avLst/>
          </a:prstGeom>
          <a:solidFill>
            <a:srgbClr val="EEDBD5"/>
          </a:solidFill>
          <a:ln w="1016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100" name="Círculo"/>
          <p:cNvSpPr>
            <a:spLocks noChangeArrowheads="1"/>
          </p:cNvSpPr>
          <p:nvPr/>
        </p:nvSpPr>
        <p:spPr bwMode="auto">
          <a:xfrm>
            <a:off x="7310438" y="2820592"/>
            <a:ext cx="211931" cy="211931"/>
          </a:xfrm>
          <a:prstGeom prst="ellipse">
            <a:avLst/>
          </a:prstGeom>
          <a:solidFill>
            <a:srgbClr val="B0B8C6"/>
          </a:solidFill>
          <a:ln w="1397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101" name="Círculo"/>
          <p:cNvSpPr>
            <a:spLocks noChangeArrowheads="1"/>
          </p:cNvSpPr>
          <p:nvPr/>
        </p:nvSpPr>
        <p:spPr bwMode="auto">
          <a:xfrm>
            <a:off x="6702029" y="3257550"/>
            <a:ext cx="129778" cy="129779"/>
          </a:xfrm>
          <a:prstGeom prst="ellipse">
            <a:avLst/>
          </a:prstGeom>
          <a:solidFill>
            <a:srgbClr val="EADDE3"/>
          </a:solidFill>
          <a:ln w="101600">
            <a:solidFill>
              <a:srgbClr val="FFFFFF"/>
            </a:solidFill>
            <a:miter lim="400000"/>
            <a:headEnd/>
            <a:tailEnd/>
          </a:ln>
          <a:effectLst>
            <a:outerShdw blurRad="50800" dist="25400" dir="5400000" rotWithShape="0">
              <a:srgbClr val="A29A93">
                <a:alpha val="50000"/>
              </a:srgbClr>
            </a:outerShdw>
          </a:effectLst>
        </p:spPr>
        <p:txBody>
          <a:bodyPr lIns="26789" tIns="26789" rIns="26789" bIns="26789" anchor="ctr"/>
          <a:lstStyle/>
          <a:p>
            <a:pPr defTabSz="685177">
              <a:defRPr sz="3200">
                <a:solidFill>
                  <a:srgbClr val="FFFFFF"/>
                </a:solidFill>
              </a:defRPr>
            </a:pPr>
            <a:endParaRPr sz="1200">
              <a:solidFill>
                <a:srgbClr val="FFFFFF"/>
              </a:solidFill>
            </a:endParaRPr>
          </a:p>
        </p:txBody>
      </p:sp>
      <p:sp>
        <p:nvSpPr>
          <p:cNvPr id="108" name="tryh.jpg"/>
          <p:cNvSpPr>
            <a:spLocks noGrp="1"/>
          </p:cNvSpPr>
          <p:nvPr>
            <p:ph type="pic" idx="13"/>
          </p:nvPr>
        </p:nvSpPr>
        <p:spPr>
          <a:xfrm>
            <a:off x="3593" y="-4465"/>
            <a:ext cx="9136816" cy="2273687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pPr lvl="0"/>
            <a:endParaRPr noProof="0"/>
          </a:p>
        </p:txBody>
      </p:sp>
      <p:sp>
        <p:nvSpPr>
          <p:cNvPr id="109" name="Q"/>
          <p:cNvSpPr txBox="1">
            <a:spLocks noGrp="1"/>
          </p:cNvSpPr>
          <p:nvPr>
            <p:ph type="body" sz="quarter" idx="14"/>
          </p:nvPr>
        </p:nvSpPr>
        <p:spPr>
          <a:xfrm>
            <a:off x="4047820" y="94472"/>
            <a:ext cx="1048363" cy="1552347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algn="ctr" defTabSz="308075">
              <a:spcBef>
                <a:spcPts val="0"/>
              </a:spcBef>
              <a:buClrTx/>
              <a:buSzTx/>
              <a:buFontTx/>
              <a:buNone/>
              <a:defRPr sz="9150">
                <a:solidFill>
                  <a:srgbClr val="FFFFFF"/>
                </a:solidFill>
                <a:latin typeface="Goudy Old Style"/>
                <a:ea typeface="Goudy Old Style"/>
                <a:cs typeface="Goudy Old Style"/>
                <a:sym typeface="Goudy Old Style"/>
              </a:defRPr>
            </a:lvl1pPr>
          </a:lstStyle>
          <a:p>
            <a:r>
              <a:t>Q</a:t>
            </a:r>
          </a:p>
        </p:txBody>
      </p:sp>
      <p:sp>
        <p:nvSpPr>
          <p:cNvPr id="110" name="Línea"/>
          <p:cNvSpPr>
            <a:spLocks noGrp="1"/>
          </p:cNvSpPr>
          <p:nvPr>
            <p:ph type="body" sz="quarter" idx="15"/>
          </p:nvPr>
        </p:nvSpPr>
        <p:spPr>
          <a:xfrm flipH="1" flipV="1">
            <a:off x="3731859" y="672823"/>
            <a:ext cx="1680282" cy="1222164"/>
          </a:xfrm>
          <a:prstGeom prst="line">
            <a:avLst/>
          </a:prstGeom>
          <a:ln>
            <a:solidFill>
              <a:srgbClr val="FFFFFF"/>
            </a:solidFill>
          </a:ln>
        </p:spPr>
        <p:txBody>
          <a:bodyPr lIns="71437" tIns="71437" rIns="71437" bIns="71437" anchor="ctr">
            <a:noAutofit/>
          </a:bodyPr>
          <a:lstStyle>
            <a:lvl1pPr marL="0" indent="0" algn="ctr" defTabSz="308075">
              <a:spcBef>
                <a:spcPts val="0"/>
              </a:spcBef>
              <a:buClrTx/>
              <a:buSzTx/>
              <a:buFontTx/>
              <a:buNone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endParaRPr/>
          </a:p>
        </p:txBody>
      </p:sp>
      <p:sp>
        <p:nvSpPr>
          <p:cNvPr id="112" name="Lorem ipsum dolor"/>
          <p:cNvSpPr txBox="1">
            <a:spLocks noGrp="1"/>
          </p:cNvSpPr>
          <p:nvPr>
            <p:ph type="body" sz="quarter" idx="16"/>
          </p:nvPr>
        </p:nvSpPr>
        <p:spPr>
          <a:xfrm>
            <a:off x="3031005" y="1553968"/>
            <a:ext cx="3081991" cy="571309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algn="ctr" defTabSz="308075">
              <a:spcBef>
                <a:spcPts val="0"/>
              </a:spcBef>
              <a:buClrTx/>
              <a:buSzTx/>
              <a:buFontTx/>
              <a:buNone/>
              <a:defRPr sz="2775" spc="0">
                <a:solidFill>
                  <a:srgbClr val="000000"/>
                </a:solidFill>
                <a:latin typeface="Helvetica Neue UltraLight"/>
                <a:ea typeface="Helvetica Neue UltraLight"/>
                <a:cs typeface="Helvetica Neue UltraLight"/>
                <a:sym typeface="Helvetica Neue UltraLight"/>
              </a:defRPr>
            </a:lvl1pPr>
          </a:lstStyle>
          <a:p>
            <a:r>
              <a:t>Lorem ipsum dolor</a:t>
            </a:r>
          </a:p>
        </p:txBody>
      </p:sp>
      <p:sp>
        <p:nvSpPr>
          <p:cNvPr id="125" name="Delenit augue duis dolore te feugait nulla facilisi."/>
          <p:cNvSpPr txBox="1">
            <a:spLocks noGrp="1"/>
          </p:cNvSpPr>
          <p:nvPr>
            <p:ph type="body" sz="quarter" idx="17"/>
          </p:nvPr>
        </p:nvSpPr>
        <p:spPr>
          <a:xfrm>
            <a:off x="1603974" y="4652222"/>
            <a:ext cx="1093732" cy="328935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elenit augue duis dolore te feugait nulla facilisi. </a:t>
            </a:r>
          </a:p>
        </p:txBody>
      </p:sp>
      <p:sp>
        <p:nvSpPr>
          <p:cNvPr id="126" name="2020"/>
          <p:cNvSpPr txBox="1">
            <a:spLocks noGrp="1"/>
          </p:cNvSpPr>
          <p:nvPr>
            <p:ph type="body" sz="quarter" idx="18"/>
          </p:nvPr>
        </p:nvSpPr>
        <p:spPr>
          <a:xfrm>
            <a:off x="1606492" y="4468110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20</a:t>
            </a:r>
          </a:p>
        </p:txBody>
      </p:sp>
      <p:sp>
        <p:nvSpPr>
          <p:cNvPr id="127" name="Delenit augue"/>
          <p:cNvSpPr txBox="1">
            <a:spLocks noGrp="1"/>
          </p:cNvSpPr>
          <p:nvPr>
            <p:ph type="body" sz="quarter" idx="19"/>
          </p:nvPr>
        </p:nvSpPr>
        <p:spPr>
          <a:xfrm>
            <a:off x="2259659" y="4307180"/>
            <a:ext cx="1093733" cy="236602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elenit augue</a:t>
            </a:r>
          </a:p>
        </p:txBody>
      </p:sp>
      <p:sp>
        <p:nvSpPr>
          <p:cNvPr id="128" name="2022"/>
          <p:cNvSpPr txBox="1">
            <a:spLocks noGrp="1"/>
          </p:cNvSpPr>
          <p:nvPr>
            <p:ph type="body" sz="quarter" idx="20"/>
          </p:nvPr>
        </p:nvSpPr>
        <p:spPr>
          <a:xfrm>
            <a:off x="2262178" y="4137176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22</a:t>
            </a:r>
          </a:p>
        </p:txBody>
      </p:sp>
      <p:sp>
        <p:nvSpPr>
          <p:cNvPr id="129" name="2024"/>
          <p:cNvSpPr txBox="1">
            <a:spLocks noGrp="1"/>
          </p:cNvSpPr>
          <p:nvPr>
            <p:ph type="body" sz="quarter" idx="21"/>
          </p:nvPr>
        </p:nvSpPr>
        <p:spPr>
          <a:xfrm>
            <a:off x="2189810" y="2677572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algn="r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24</a:t>
            </a:r>
          </a:p>
        </p:txBody>
      </p:sp>
      <p:sp>
        <p:nvSpPr>
          <p:cNvPr id="130" name="Delenit augue duis dolore te feugait nulla facilisi."/>
          <p:cNvSpPr txBox="1">
            <a:spLocks noGrp="1"/>
          </p:cNvSpPr>
          <p:nvPr>
            <p:ph type="body" sz="quarter" idx="22"/>
          </p:nvPr>
        </p:nvSpPr>
        <p:spPr>
          <a:xfrm>
            <a:off x="1487887" y="2855122"/>
            <a:ext cx="1093733" cy="328935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algn="r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elenit augue duis dolore te feugait nulla facilisi. </a:t>
            </a:r>
          </a:p>
        </p:txBody>
      </p:sp>
      <p:sp>
        <p:nvSpPr>
          <p:cNvPr id="131" name="Delenit augue"/>
          <p:cNvSpPr txBox="1">
            <a:spLocks noGrp="1"/>
          </p:cNvSpPr>
          <p:nvPr>
            <p:ph type="body" sz="quarter" idx="23"/>
          </p:nvPr>
        </p:nvSpPr>
        <p:spPr>
          <a:xfrm>
            <a:off x="3197277" y="3542042"/>
            <a:ext cx="1093732" cy="236602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elenit augue</a:t>
            </a:r>
          </a:p>
        </p:txBody>
      </p:sp>
      <p:sp>
        <p:nvSpPr>
          <p:cNvPr id="132" name="2026"/>
          <p:cNvSpPr txBox="1">
            <a:spLocks noGrp="1"/>
          </p:cNvSpPr>
          <p:nvPr>
            <p:ph type="body" sz="quarter" idx="24"/>
          </p:nvPr>
        </p:nvSpPr>
        <p:spPr>
          <a:xfrm>
            <a:off x="3199795" y="3372038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26</a:t>
            </a:r>
          </a:p>
        </p:txBody>
      </p:sp>
      <p:sp>
        <p:nvSpPr>
          <p:cNvPr id="133" name="Lorem ipsum dolor"/>
          <p:cNvSpPr txBox="1">
            <a:spLocks noGrp="1"/>
          </p:cNvSpPr>
          <p:nvPr>
            <p:ph type="body" sz="quarter" idx="25"/>
          </p:nvPr>
        </p:nvSpPr>
        <p:spPr>
          <a:xfrm>
            <a:off x="3382569" y="4369130"/>
            <a:ext cx="1093732" cy="236602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Lorem ipsum dolor</a:t>
            </a:r>
          </a:p>
        </p:txBody>
      </p:sp>
      <p:sp>
        <p:nvSpPr>
          <p:cNvPr id="134" name="2028"/>
          <p:cNvSpPr txBox="1">
            <a:spLocks noGrp="1"/>
          </p:cNvSpPr>
          <p:nvPr>
            <p:ph type="body" sz="quarter" idx="26"/>
          </p:nvPr>
        </p:nvSpPr>
        <p:spPr>
          <a:xfrm>
            <a:off x="3385087" y="4199126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28</a:t>
            </a:r>
          </a:p>
        </p:txBody>
      </p:sp>
      <p:sp>
        <p:nvSpPr>
          <p:cNvPr id="135" name="Delenit augue duis dolore te feugait"/>
          <p:cNvSpPr txBox="1">
            <a:spLocks noGrp="1"/>
          </p:cNvSpPr>
          <p:nvPr>
            <p:ph type="body" sz="quarter" idx="27"/>
          </p:nvPr>
        </p:nvSpPr>
        <p:spPr>
          <a:xfrm>
            <a:off x="3992664" y="3356661"/>
            <a:ext cx="757544" cy="421268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elenit augue duis dolore te feugait</a:t>
            </a:r>
          </a:p>
        </p:txBody>
      </p:sp>
      <p:sp>
        <p:nvSpPr>
          <p:cNvPr id="136" name="2030"/>
          <p:cNvSpPr txBox="1">
            <a:spLocks noGrp="1"/>
          </p:cNvSpPr>
          <p:nvPr>
            <p:ph type="body" sz="quarter" idx="28"/>
          </p:nvPr>
        </p:nvSpPr>
        <p:spPr>
          <a:xfrm>
            <a:off x="3995183" y="3232110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30</a:t>
            </a:r>
          </a:p>
        </p:txBody>
      </p:sp>
      <p:sp>
        <p:nvSpPr>
          <p:cNvPr id="137" name="Delenit augue duis dolore te feugait nulla facilisi."/>
          <p:cNvSpPr txBox="1">
            <a:spLocks noGrp="1"/>
          </p:cNvSpPr>
          <p:nvPr>
            <p:ph type="body" sz="quarter" idx="29"/>
          </p:nvPr>
        </p:nvSpPr>
        <p:spPr>
          <a:xfrm>
            <a:off x="4468170" y="4559329"/>
            <a:ext cx="1093732" cy="328935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elenit augue duis dolore te feugait nulla facilisi. </a:t>
            </a:r>
          </a:p>
        </p:txBody>
      </p:sp>
      <p:sp>
        <p:nvSpPr>
          <p:cNvPr id="138" name="2032"/>
          <p:cNvSpPr txBox="1">
            <a:spLocks noGrp="1"/>
          </p:cNvSpPr>
          <p:nvPr>
            <p:ph type="body" sz="quarter" idx="30"/>
          </p:nvPr>
        </p:nvSpPr>
        <p:spPr>
          <a:xfrm>
            <a:off x="4470688" y="4375218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32</a:t>
            </a:r>
          </a:p>
        </p:txBody>
      </p:sp>
      <p:sp>
        <p:nvSpPr>
          <p:cNvPr id="139" name="Delenit augue"/>
          <p:cNvSpPr txBox="1">
            <a:spLocks noGrp="1"/>
          </p:cNvSpPr>
          <p:nvPr>
            <p:ph type="body" sz="quarter" idx="31"/>
          </p:nvPr>
        </p:nvSpPr>
        <p:spPr>
          <a:xfrm>
            <a:off x="5001073" y="2979469"/>
            <a:ext cx="1093733" cy="236602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elenit augue</a:t>
            </a:r>
          </a:p>
        </p:txBody>
      </p:sp>
      <p:sp>
        <p:nvSpPr>
          <p:cNvPr id="140" name="2034"/>
          <p:cNvSpPr txBox="1">
            <a:spLocks noGrp="1"/>
          </p:cNvSpPr>
          <p:nvPr>
            <p:ph type="body" sz="quarter" idx="32"/>
          </p:nvPr>
        </p:nvSpPr>
        <p:spPr>
          <a:xfrm>
            <a:off x="5003592" y="2809466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34</a:t>
            </a:r>
          </a:p>
        </p:txBody>
      </p:sp>
      <p:sp>
        <p:nvSpPr>
          <p:cNvPr id="141" name="Lorem ipsum dolor"/>
          <p:cNvSpPr txBox="1">
            <a:spLocks noGrp="1"/>
          </p:cNvSpPr>
          <p:nvPr>
            <p:ph type="body" sz="quarter" idx="33"/>
          </p:nvPr>
        </p:nvSpPr>
        <p:spPr>
          <a:xfrm>
            <a:off x="5616874" y="4320524"/>
            <a:ext cx="1093732" cy="236602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Lorem ipsum dolor</a:t>
            </a:r>
          </a:p>
        </p:txBody>
      </p:sp>
      <p:sp>
        <p:nvSpPr>
          <p:cNvPr id="142" name="2036"/>
          <p:cNvSpPr txBox="1">
            <a:spLocks noGrp="1"/>
          </p:cNvSpPr>
          <p:nvPr>
            <p:ph type="body" sz="quarter" idx="34"/>
          </p:nvPr>
        </p:nvSpPr>
        <p:spPr>
          <a:xfrm>
            <a:off x="5619392" y="4150520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36</a:t>
            </a:r>
          </a:p>
        </p:txBody>
      </p:sp>
      <p:sp>
        <p:nvSpPr>
          <p:cNvPr id="143" name="Delenit augue dolore"/>
          <p:cNvSpPr txBox="1">
            <a:spLocks noGrp="1"/>
          </p:cNvSpPr>
          <p:nvPr>
            <p:ph type="body" sz="quarter" idx="35"/>
          </p:nvPr>
        </p:nvSpPr>
        <p:spPr>
          <a:xfrm>
            <a:off x="6313738" y="3984878"/>
            <a:ext cx="1093732" cy="236602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elenit augue dolore</a:t>
            </a:r>
          </a:p>
        </p:txBody>
      </p:sp>
      <p:sp>
        <p:nvSpPr>
          <p:cNvPr id="144" name="2038"/>
          <p:cNvSpPr txBox="1">
            <a:spLocks noGrp="1"/>
          </p:cNvSpPr>
          <p:nvPr>
            <p:ph type="body" sz="quarter" idx="36"/>
          </p:nvPr>
        </p:nvSpPr>
        <p:spPr>
          <a:xfrm>
            <a:off x="6316256" y="3814875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38</a:t>
            </a:r>
          </a:p>
        </p:txBody>
      </p:sp>
      <p:sp>
        <p:nvSpPr>
          <p:cNvPr id="145" name="2040"/>
          <p:cNvSpPr txBox="1">
            <a:spLocks noGrp="1"/>
          </p:cNvSpPr>
          <p:nvPr>
            <p:ph type="body" sz="quarter" idx="37"/>
          </p:nvPr>
        </p:nvSpPr>
        <p:spPr>
          <a:xfrm>
            <a:off x="6219332" y="2976976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algn="r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40</a:t>
            </a:r>
          </a:p>
        </p:txBody>
      </p:sp>
      <p:sp>
        <p:nvSpPr>
          <p:cNvPr id="146" name="Dolore te feugait nulla facilisi."/>
          <p:cNvSpPr txBox="1">
            <a:spLocks noGrp="1"/>
          </p:cNvSpPr>
          <p:nvPr>
            <p:ph type="body" sz="quarter" idx="38"/>
          </p:nvPr>
        </p:nvSpPr>
        <p:spPr>
          <a:xfrm>
            <a:off x="5968644" y="3108359"/>
            <a:ext cx="649194" cy="421268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algn="r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olore te feugait nulla facilisi. </a:t>
            </a:r>
          </a:p>
        </p:txBody>
      </p:sp>
      <p:sp>
        <p:nvSpPr>
          <p:cNvPr id="147" name="2042"/>
          <p:cNvSpPr txBox="1">
            <a:spLocks noGrp="1"/>
          </p:cNvSpPr>
          <p:nvPr>
            <p:ph type="body" sz="quarter" idx="39"/>
          </p:nvPr>
        </p:nvSpPr>
        <p:spPr>
          <a:xfrm>
            <a:off x="7121229" y="2294070"/>
            <a:ext cx="400750" cy="282769"/>
          </a:xfrm>
          <a:prstGeom prst="rect">
            <a:avLst/>
          </a:prstGeom>
        </p:spPr>
        <p:txBody>
          <a:bodyPr wrap="none" lIns="71437" tIns="71437" rIns="71437" bIns="71437" anchor="ctr"/>
          <a:lstStyle>
            <a:lvl1pPr marL="0" indent="0" algn="r" defTabSz="308075">
              <a:spcBef>
                <a:spcPts val="0"/>
              </a:spcBef>
              <a:buClrTx/>
              <a:buSzTx/>
              <a:buFontTx/>
              <a:buNone/>
              <a:defRPr sz="900" cap="all">
                <a:solidFill>
                  <a:srgbClr val="000000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t>2042</a:t>
            </a:r>
          </a:p>
        </p:txBody>
      </p:sp>
      <p:sp>
        <p:nvSpPr>
          <p:cNvPr id="148" name="Delenit augue duis dolore te feugait nulla facilisi."/>
          <p:cNvSpPr txBox="1">
            <a:spLocks noGrp="1"/>
          </p:cNvSpPr>
          <p:nvPr>
            <p:ph type="body" sz="quarter" idx="40"/>
          </p:nvPr>
        </p:nvSpPr>
        <p:spPr>
          <a:xfrm>
            <a:off x="6432701" y="2471620"/>
            <a:ext cx="1093733" cy="328935"/>
          </a:xfrm>
          <a:prstGeom prst="rect">
            <a:avLst/>
          </a:prstGeom>
        </p:spPr>
        <p:txBody>
          <a:bodyPr lIns="71437" tIns="71437" rIns="71437" bIns="71437" anchor="ctr"/>
          <a:lstStyle>
            <a:lvl1pPr marL="0" indent="0" algn="r" defTabSz="308075">
              <a:spcBef>
                <a:spcPts val="0"/>
              </a:spcBef>
              <a:buClrTx/>
              <a:buSzTx/>
              <a:buFontTx/>
              <a:buNone/>
              <a:defRPr sz="600">
                <a:solidFill>
                  <a:srgbClr val="000000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t>Delenit augue duis dolore te feugait nulla facilisi. </a:t>
            </a:r>
          </a:p>
        </p:txBody>
      </p:sp>
      <p:sp>
        <p:nvSpPr>
          <p:cNvPr id="102" name="Número de diapositiva"/>
          <p:cNvSpPr txBox="1">
            <a:spLocks noGrp="1"/>
          </p:cNvSpPr>
          <p:nvPr>
            <p:ph type="sldNum" sz="quarter" idx="41"/>
          </p:nvPr>
        </p:nvSpPr>
        <p:spPr>
          <a:xfrm>
            <a:off x="4475560" y="4879181"/>
            <a:ext cx="185738" cy="191691"/>
          </a:xfrm>
          <a:prstGeom prst="rect">
            <a:avLst/>
          </a:prstGeom>
        </p:spPr>
        <p:txBody>
          <a:bodyPr vert="horz" wrap="square" lIns="71437" tIns="71437" rIns="71437" bIns="71437" numCol="1" anchor="t" anchorCtr="0" compatLnSpc="1">
            <a:prstTxWarp prst="textNoShape">
              <a:avLst/>
            </a:prstTxWarp>
          </a:bodyPr>
          <a:lstStyle>
            <a:lvl1pPr algn="ctr" defTabSz="307181" eaLnBrk="1" hangingPunct="1">
              <a:defRPr sz="900">
                <a:solidFill>
                  <a:srgbClr val="000000"/>
                </a:solidFill>
                <a:ea typeface="ＭＳ Ｐゴシック" panose="020B0600070205080204" pitchFamily="34" charset="-128"/>
                <a:sym typeface="Helvetica Light" pitchFamily="6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210C16D-8CE7-4A05-A11B-EFD3F88878DD}" type="slidenum">
              <a:rPr lang="es-ES" altLang="es-CL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ES" altLang="es-CL"/>
          </a:p>
        </p:txBody>
      </p:sp>
    </p:spTree>
    <p:extLst>
      <p:ext uri="{BB962C8B-B14F-4D97-AF65-F5344CB8AC3E}">
        <p14:creationId xmlns:p14="http://schemas.microsoft.com/office/powerpoint/2010/main" val="2018856890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94975056-4056-4560-841D-56B2BDD917C1}" type="datetimeFigureOut">
              <a:rPr lang="es-CL" smtClean="0">
                <a:solidFill>
                  <a:srgbClr val="000000"/>
                </a:solidFill>
              </a:rPr>
              <a:pPr defTabSz="685800"/>
              <a:t>17/12/2019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94A6C7CE-13C0-46AC-8680-3F3BC570031E}" type="slidenum">
              <a:rPr lang="es-CL" smtClean="0">
                <a:solidFill>
                  <a:srgbClr val="000000"/>
                </a:solidFill>
              </a:rPr>
              <a:pPr defTabSz="685800"/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7777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HR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53952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543909" y="1164977"/>
          <a:ext cx="8079828" cy="318459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0866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32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17603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INTRODUCTION. 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19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FIRST TOPIC HER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  <a:endParaRPr lang="en-US" sz="900" baseline="0" dirty="0">
                        <a:solidFill>
                          <a:schemeClr val="accent2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76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SECOND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TOPIC HER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7603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THIRD TOPIC HERE. 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0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7603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FOURTH TOPIC HERE. 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5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71910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FIFTH TOPIC HERE. 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76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SIXTH TOPIC HERE.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2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7603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SEVENTH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TOPIC HER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45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970370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/>
              <a:pPr/>
              <a:t>17/12/2019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004545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R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4886294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4885340" cy="2446735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837249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HR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4886294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4" y="1164432"/>
            <a:ext cx="1469707" cy="14187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4885340" cy="2446735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7353300" y="1164432"/>
            <a:ext cx="1469707" cy="14187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662614" y="2821781"/>
            <a:ext cx="1469707" cy="14187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7353300" y="2821781"/>
            <a:ext cx="1469707" cy="14187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5377795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HR Slide - Large Bol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332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LARGE BOLD TEXT FOR CREATIVE INTEREST.</a:t>
            </a:r>
          </a:p>
        </p:txBody>
      </p:sp>
      <p:sp>
        <p:nvSpPr>
          <p:cNvPr id="44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73534"/>
            <a:ext cx="7761589" cy="32850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Use this to create large bold text statements. Use ‘Function Color’ and different weight of text to create interest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</a:p>
        </p:txBody>
      </p:sp>
      <p:sp>
        <p:nvSpPr>
          <p:cNvPr id="4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9675560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HR Slide - Large Bold 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90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LARGE BOLD TEXT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7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73534"/>
            <a:ext cx="4833260" cy="24037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7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Use this to create large bold text statements. Use ‘Function Colors’ and different weight of text to create interest. Lorem ipsum dolor sit </a:t>
            </a:r>
            <a:r>
              <a:rPr lang="en-US" dirty="0" err="1"/>
              <a:t>amet</a:t>
            </a:r>
            <a:r>
              <a:rPr lang="en-US" dirty="0"/>
              <a:t>,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</a:t>
            </a:r>
          </a:p>
        </p:txBody>
      </p:sp>
      <p:sp>
        <p:nvSpPr>
          <p:cNvPr id="7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8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606804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HR Slide - Numbered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8559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NUMBERED BULLET POINTS WITH DESCRIPTIONS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52429" y="1161616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| 01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0087" y="1161616"/>
            <a:ext cx="1882215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350" b="0" baseline="0"/>
            </a:lvl1pPr>
          </a:lstStyle>
          <a:p>
            <a:pPr lvl="0"/>
            <a:r>
              <a:rPr lang="en-US" dirty="0"/>
              <a:t>Your Text Here. 18P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1560389"/>
            <a:ext cx="4485290" cy="30651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50" baseline="0"/>
            </a:lvl1pPr>
          </a:lstStyle>
          <a:p>
            <a:pPr lvl="0"/>
            <a:r>
              <a:rPr lang="en-US" dirty="0"/>
              <a:t>Description text 10PT.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76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52429" y="2008618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| 02</a:t>
            </a:r>
          </a:p>
        </p:txBody>
      </p:sp>
      <p:sp>
        <p:nvSpPr>
          <p:cNvPr id="77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1160087" y="2008618"/>
            <a:ext cx="1882215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350" b="0" baseline="0"/>
            </a:lvl1pPr>
          </a:lstStyle>
          <a:p>
            <a:pPr lvl="0"/>
            <a:r>
              <a:rPr lang="en-US" dirty="0"/>
              <a:t>Your Text Here. 18PT</a:t>
            </a:r>
          </a:p>
        </p:txBody>
      </p:sp>
      <p:sp>
        <p:nvSpPr>
          <p:cNvPr id="78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3911" y="2407392"/>
            <a:ext cx="4106917" cy="30651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Description text 10PT. 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79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552429" y="2857134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| 03</a:t>
            </a:r>
          </a:p>
        </p:txBody>
      </p:sp>
      <p:sp>
        <p:nvSpPr>
          <p:cNvPr id="80" name="Text Placeholder 9"/>
          <p:cNvSpPr>
            <a:spLocks noGrp="1"/>
          </p:cNvSpPr>
          <p:nvPr>
            <p:ph type="body" sz="quarter" idx="19" hasCustomPrompt="1"/>
          </p:nvPr>
        </p:nvSpPr>
        <p:spPr>
          <a:xfrm>
            <a:off x="1160087" y="2857134"/>
            <a:ext cx="1882215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350" b="0" baseline="0"/>
            </a:lvl1pPr>
          </a:lstStyle>
          <a:p>
            <a:pPr lvl="0"/>
            <a:r>
              <a:rPr lang="en-US" dirty="0"/>
              <a:t>Your Text Here. 18PT</a:t>
            </a:r>
          </a:p>
        </p:txBody>
      </p:sp>
      <p:sp>
        <p:nvSpPr>
          <p:cNvPr id="81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3911" y="3255908"/>
            <a:ext cx="4280338" cy="2945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Description text 10PT.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5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552429" y="3695699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| 04</a:t>
            </a:r>
          </a:p>
        </p:txBody>
      </p:sp>
      <p:sp>
        <p:nvSpPr>
          <p:cNvPr id="86" name="Text Placeholder 9"/>
          <p:cNvSpPr>
            <a:spLocks noGrp="1"/>
          </p:cNvSpPr>
          <p:nvPr>
            <p:ph type="body" sz="quarter" idx="22" hasCustomPrompt="1"/>
          </p:nvPr>
        </p:nvSpPr>
        <p:spPr>
          <a:xfrm>
            <a:off x="1160087" y="3695699"/>
            <a:ext cx="1882215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1350" b="0" baseline="0"/>
            </a:lvl1pPr>
          </a:lstStyle>
          <a:p>
            <a:pPr lvl="0"/>
            <a:r>
              <a:rPr lang="en-US" dirty="0"/>
              <a:t>Your Text Here. 18PT</a:t>
            </a:r>
          </a:p>
        </p:txBody>
      </p:sp>
      <p:sp>
        <p:nvSpPr>
          <p:cNvPr id="87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543911" y="4094473"/>
            <a:ext cx="3814145" cy="29451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750"/>
            </a:lvl1pPr>
          </a:lstStyle>
          <a:p>
            <a:pPr lvl="0"/>
            <a:r>
              <a:rPr lang="en-US" dirty="0"/>
              <a:t>Description text 10PT.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1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4814217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HR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5898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0087" y="1161616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543910" y="1152179"/>
            <a:ext cx="544862" cy="438150"/>
          </a:xfrm>
          <a:prstGeom prst="rect">
            <a:avLst/>
          </a:prstGeom>
          <a:solidFill>
            <a:schemeClr val="accent2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160087" y="1771651"/>
            <a:ext cx="4313905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543910" y="1762215"/>
            <a:ext cx="544862" cy="438150"/>
          </a:xfrm>
          <a:prstGeom prst="rect">
            <a:avLst/>
          </a:prstGeom>
          <a:solidFill>
            <a:schemeClr val="accent2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160087" y="2393345"/>
            <a:ext cx="360102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543910" y="2383909"/>
            <a:ext cx="544862" cy="438150"/>
          </a:xfrm>
          <a:prstGeom prst="rect">
            <a:avLst/>
          </a:prstGeom>
          <a:solidFill>
            <a:schemeClr val="accent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160087" y="3025968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br>
              <a:rPr lang="en-US" dirty="0"/>
            </a:b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543910" y="3016532"/>
            <a:ext cx="544862" cy="43815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160087" y="3655626"/>
            <a:ext cx="4397258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543910" y="3646190"/>
            <a:ext cx="544862" cy="43815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821629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HR Slide - 5 Circle Icon/Symbol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2" name="Straight Connector 91"/>
          <p:cNvCxnSpPr/>
          <p:nvPr userDrawn="1"/>
        </p:nvCxnSpPr>
        <p:spPr>
          <a:xfrm>
            <a:off x="1552154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 userDrawn="1"/>
        </p:nvCxnSpPr>
        <p:spPr>
          <a:xfrm>
            <a:off x="3040800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346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FIVE CIRCLE ICON/SYMBOLS WITH BULLET POINTS.</a:t>
            </a:r>
          </a:p>
        </p:txBody>
      </p:sp>
      <p:sp>
        <p:nvSpPr>
          <p:cNvPr id="80" name="Oval 79"/>
          <p:cNvSpPr/>
          <p:nvPr userDrawn="1"/>
        </p:nvSpPr>
        <p:spPr>
          <a:xfrm>
            <a:off x="1051107" y="1239876"/>
            <a:ext cx="1006009" cy="1006009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5" name="TextBox 84"/>
          <p:cNvSpPr txBox="1"/>
          <p:nvPr userDrawn="1"/>
        </p:nvSpPr>
        <p:spPr>
          <a:xfrm>
            <a:off x="1227302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1</a:t>
            </a:r>
          </a:p>
        </p:txBody>
      </p:sp>
      <p:pic>
        <p:nvPicPr>
          <p:cNvPr id="86" name="Picture 8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8184" y="1818095"/>
            <a:ext cx="431647" cy="287765"/>
          </a:xfrm>
          <a:prstGeom prst="rect">
            <a:avLst/>
          </a:prstGeom>
        </p:spPr>
      </p:pic>
      <p:sp>
        <p:nvSpPr>
          <p:cNvPr id="10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24611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6" name="Oval 105"/>
          <p:cNvSpPr/>
          <p:nvPr userDrawn="1"/>
        </p:nvSpPr>
        <p:spPr>
          <a:xfrm>
            <a:off x="2539753" y="1239876"/>
            <a:ext cx="1006009" cy="1006009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07" name="TextBox 106"/>
          <p:cNvSpPr txBox="1"/>
          <p:nvPr userDrawn="1"/>
        </p:nvSpPr>
        <p:spPr>
          <a:xfrm>
            <a:off x="2715948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2</a:t>
            </a:r>
          </a:p>
        </p:txBody>
      </p:sp>
      <p:sp>
        <p:nvSpPr>
          <p:cNvPr id="1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413258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pic>
        <p:nvPicPr>
          <p:cNvPr id="99" name="Picture 9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6890" y="1807322"/>
            <a:ext cx="207821" cy="384541"/>
          </a:xfrm>
          <a:prstGeom prst="rect">
            <a:avLst/>
          </a:prstGeom>
        </p:spPr>
      </p:pic>
      <p:cxnSp>
        <p:nvCxnSpPr>
          <p:cNvPr id="112" name="Straight Connector 111"/>
          <p:cNvCxnSpPr/>
          <p:nvPr userDrawn="1"/>
        </p:nvCxnSpPr>
        <p:spPr>
          <a:xfrm>
            <a:off x="4533242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val 112"/>
          <p:cNvSpPr/>
          <p:nvPr userDrawn="1"/>
        </p:nvSpPr>
        <p:spPr>
          <a:xfrm>
            <a:off x="4032195" y="1239876"/>
            <a:ext cx="1006009" cy="100600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4208390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3</a:t>
            </a:r>
          </a:p>
        </p:txBody>
      </p:sp>
      <p:sp>
        <p:nvSpPr>
          <p:cNvPr id="11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905699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pic>
        <p:nvPicPr>
          <p:cNvPr id="98" name="Picture 9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1632" y="1777733"/>
            <a:ext cx="403219" cy="354443"/>
          </a:xfrm>
          <a:prstGeom prst="rect">
            <a:avLst/>
          </a:prstGeom>
        </p:spPr>
      </p:pic>
      <p:cxnSp>
        <p:nvCxnSpPr>
          <p:cNvPr id="118" name="Straight Connector 117"/>
          <p:cNvCxnSpPr/>
          <p:nvPr userDrawn="1"/>
        </p:nvCxnSpPr>
        <p:spPr>
          <a:xfrm>
            <a:off x="6013385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118"/>
          <p:cNvSpPr/>
          <p:nvPr userDrawn="1"/>
        </p:nvSpPr>
        <p:spPr>
          <a:xfrm>
            <a:off x="5512338" y="1239876"/>
            <a:ext cx="1006009" cy="1006009"/>
          </a:xfrm>
          <a:prstGeom prst="ellipse">
            <a:avLst/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0" name="TextBox 119"/>
          <p:cNvSpPr txBox="1"/>
          <p:nvPr userDrawn="1"/>
        </p:nvSpPr>
        <p:spPr>
          <a:xfrm>
            <a:off x="5688533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4</a:t>
            </a:r>
          </a:p>
        </p:txBody>
      </p:sp>
      <p:sp>
        <p:nvSpPr>
          <p:cNvPr id="122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385842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pic>
        <p:nvPicPr>
          <p:cNvPr id="100" name="Picture 99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1318" y="1804630"/>
            <a:ext cx="324134" cy="307811"/>
          </a:xfrm>
          <a:prstGeom prst="rect">
            <a:avLst/>
          </a:prstGeom>
        </p:spPr>
      </p:pic>
      <p:cxnSp>
        <p:nvCxnSpPr>
          <p:cNvPr id="124" name="Straight Connector 123"/>
          <p:cNvCxnSpPr/>
          <p:nvPr userDrawn="1"/>
        </p:nvCxnSpPr>
        <p:spPr>
          <a:xfrm>
            <a:off x="7491570" y="2220539"/>
            <a:ext cx="1957" cy="422910"/>
          </a:xfrm>
          <a:prstGeom prst="line">
            <a:avLst/>
          </a:prstGeom>
          <a:ln w="952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 userDrawn="1"/>
        </p:nvSpPr>
        <p:spPr>
          <a:xfrm>
            <a:off x="6990523" y="1239876"/>
            <a:ext cx="1006009" cy="1006009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6" name="TextBox 125"/>
          <p:cNvSpPr txBox="1"/>
          <p:nvPr userDrawn="1"/>
        </p:nvSpPr>
        <p:spPr>
          <a:xfrm>
            <a:off x="7166718" y="1246287"/>
            <a:ext cx="70863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3750" dirty="0">
                <a:solidFill>
                  <a:srgbClr val="FFFFFF"/>
                </a:solidFill>
              </a:rPr>
              <a:t>05</a:t>
            </a:r>
          </a:p>
        </p:txBody>
      </p:sp>
      <p:sp>
        <p:nvSpPr>
          <p:cNvPr id="12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864028" y="2965892"/>
            <a:ext cx="1258259" cy="1491504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pic>
        <p:nvPicPr>
          <p:cNvPr id="130" name="Picture 12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8002" y="1822974"/>
            <a:ext cx="447137" cy="255507"/>
          </a:xfrm>
          <a:prstGeom prst="rect">
            <a:avLst/>
          </a:prstGeom>
        </p:spPr>
      </p:pic>
      <p:sp>
        <p:nvSpPr>
          <p:cNvPr id="37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924612" y="2643449"/>
            <a:ext cx="1254463" cy="29718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RIGHT PEOPLE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411670" y="2643449"/>
            <a:ext cx="1254463" cy="29718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RIGHT PLAC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3906009" y="2643449"/>
            <a:ext cx="1254463" cy="297180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TIME</a:t>
            </a:r>
            <a:endParaRPr lang="en-US" dirty="0"/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5382238" y="2643449"/>
            <a:ext cx="1254463" cy="297180"/>
          </a:xfrm>
          <a:prstGeom prst="rect">
            <a:avLst/>
          </a:prstGeom>
          <a:solidFill>
            <a:schemeClr val="tx1"/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RIGHT RESULTS</a:t>
            </a:r>
            <a:endParaRPr lang="en-US" dirty="0"/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6858467" y="2643449"/>
            <a:ext cx="1254463" cy="29718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RIGHT FUTURE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523494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HR Slide - 3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8046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HREE NUMBERED BOXES WITH TEXT/BULLET POINTS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78313" y="1742879"/>
            <a:ext cx="2053121" cy="256508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 baseline="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04862" y="1450344"/>
            <a:ext cx="2226572" cy="242315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31411" y="1388111"/>
            <a:ext cx="346903" cy="346903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31411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692938" y="1742879"/>
            <a:ext cx="2053121" cy="256508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endParaRPr lang="en-US" dirty="0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519487" y="1450344"/>
            <a:ext cx="2226572" cy="24231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3346036" y="1388111"/>
            <a:ext cx="346903" cy="34690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346036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6407563" y="1742879"/>
            <a:ext cx="2053121" cy="256508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endParaRPr lang="en-US" dirty="0"/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234112" y="1450344"/>
            <a:ext cx="2226572" cy="242315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6060661" y="1388111"/>
            <a:ext cx="346903" cy="34690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060661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8092434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HR Slide - 6 Numbered Boxes with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332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SIX NUMBERED BOXES WITH TEXT.</a:t>
            </a:r>
          </a:p>
        </p:txBody>
      </p:sp>
      <p:sp>
        <p:nvSpPr>
          <p:cNvPr id="102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4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978313" y="17428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 baseline="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.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804862" y="1450344"/>
            <a:ext cx="2226572" cy="242315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43" name="Oval 42"/>
          <p:cNvSpPr/>
          <p:nvPr userDrawn="1"/>
        </p:nvSpPr>
        <p:spPr>
          <a:xfrm>
            <a:off x="631411" y="1388111"/>
            <a:ext cx="346903" cy="346903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31411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692938" y="17428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</a:t>
            </a:r>
            <a:endParaRPr lang="en-US" dirty="0"/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3519487" y="1450344"/>
            <a:ext cx="2226572" cy="24231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50" name="Oval 49"/>
          <p:cNvSpPr/>
          <p:nvPr userDrawn="1"/>
        </p:nvSpPr>
        <p:spPr>
          <a:xfrm>
            <a:off x="3346036" y="1388111"/>
            <a:ext cx="346903" cy="34690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1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346036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6407563" y="17428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</a:p>
        </p:txBody>
      </p:sp>
      <p:sp>
        <p:nvSpPr>
          <p:cNvPr id="55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234112" y="1450344"/>
            <a:ext cx="2226572" cy="242315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56" name="Oval 55"/>
          <p:cNvSpPr/>
          <p:nvPr userDrawn="1"/>
        </p:nvSpPr>
        <p:spPr>
          <a:xfrm>
            <a:off x="6060661" y="1388111"/>
            <a:ext cx="346903" cy="34690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57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6060661" y="14687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978313" y="34192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 baseline="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</a:t>
            </a:r>
            <a:endParaRPr lang="en-US" dirty="0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04862" y="3126744"/>
            <a:ext cx="2226572" cy="242315"/>
          </a:xfrm>
          <a:prstGeom prst="rect">
            <a:avLst/>
          </a:prstGeom>
          <a:solidFill>
            <a:schemeClr val="accent2"/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631411" y="3064511"/>
            <a:ext cx="346903" cy="34690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631411" y="31451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7" hasCustomPrompt="1"/>
          </p:nvPr>
        </p:nvSpPr>
        <p:spPr>
          <a:xfrm>
            <a:off x="3692938" y="34192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</a:t>
            </a:r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8" hasCustomPrompt="1"/>
          </p:nvPr>
        </p:nvSpPr>
        <p:spPr>
          <a:xfrm>
            <a:off x="3519487" y="3126744"/>
            <a:ext cx="2226572" cy="24231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27" name="Oval 26"/>
          <p:cNvSpPr/>
          <p:nvPr userDrawn="1"/>
        </p:nvSpPr>
        <p:spPr>
          <a:xfrm>
            <a:off x="3346036" y="3064511"/>
            <a:ext cx="346903" cy="34690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29" hasCustomPrompt="1"/>
          </p:nvPr>
        </p:nvSpPr>
        <p:spPr>
          <a:xfrm>
            <a:off x="3346036" y="31451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30" hasCustomPrompt="1"/>
          </p:nvPr>
        </p:nvSpPr>
        <p:spPr>
          <a:xfrm>
            <a:off x="6407563" y="3419280"/>
            <a:ext cx="2053121" cy="10003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>
              <a:buNone/>
              <a:defRPr sz="750">
                <a:solidFill>
                  <a:schemeClr val="tx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/>
              <a:t>Intro description text. Grey. 10PT. </a:t>
            </a:r>
            <a:br>
              <a:rPr lang="en-US" dirty="0"/>
            </a:b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 </a:t>
            </a:r>
            <a:r>
              <a:rPr lang="en-US" dirty="0" err="1"/>
              <a:t>ea</a:t>
            </a:r>
            <a:r>
              <a:rPr lang="en-US" dirty="0"/>
              <a:t> duo. Mea </a:t>
            </a:r>
            <a:r>
              <a:rPr lang="en-US" dirty="0" err="1"/>
              <a:t>appareat</a:t>
            </a:r>
            <a:r>
              <a:rPr lang="en-US" dirty="0"/>
              <a:t> </a:t>
            </a:r>
            <a:r>
              <a:rPr lang="en-US" dirty="0" err="1"/>
              <a:t>ocurreret</a:t>
            </a:r>
            <a:r>
              <a:rPr lang="en-US" dirty="0"/>
              <a:t> </a:t>
            </a:r>
            <a:r>
              <a:rPr lang="en-US" dirty="0" err="1"/>
              <a:t>vertitur</a:t>
            </a:r>
            <a:r>
              <a:rPr lang="en-US" dirty="0"/>
              <a:t>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An </a:t>
            </a:r>
            <a:r>
              <a:rPr lang="en-US" dirty="0" err="1"/>
              <a:t>vidit</a:t>
            </a:r>
            <a:r>
              <a:rPr lang="en-US" dirty="0"/>
              <a:t> </a:t>
            </a:r>
            <a:r>
              <a:rPr lang="en-US" dirty="0" err="1"/>
              <a:t>putent</a:t>
            </a:r>
            <a:r>
              <a:rPr lang="en-US" dirty="0"/>
              <a:t> </a:t>
            </a:r>
            <a:r>
              <a:rPr lang="en-US" dirty="0" err="1"/>
              <a:t>docendi</a:t>
            </a:r>
            <a:r>
              <a:rPr lang="en-US" dirty="0"/>
              <a:t> vim, duo at </a:t>
            </a:r>
            <a:r>
              <a:rPr lang="en-US" dirty="0" err="1"/>
              <a:t>essent</a:t>
            </a:r>
            <a:r>
              <a:rPr lang="en-US" dirty="0"/>
              <a:t> </a:t>
            </a:r>
            <a:r>
              <a:rPr lang="en-US" dirty="0" err="1"/>
              <a:t>electram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mucius</a:t>
            </a:r>
            <a:r>
              <a:rPr lang="en-US" dirty="0"/>
              <a:t> </a:t>
            </a:r>
            <a:r>
              <a:rPr lang="en-US" dirty="0" err="1"/>
              <a:t>dissentiunt</a:t>
            </a:r>
            <a:r>
              <a:rPr lang="en-US" dirty="0"/>
              <a:t> </a:t>
            </a:r>
            <a:r>
              <a:rPr lang="en-US" dirty="0" err="1"/>
              <a:t>mei</a:t>
            </a:r>
            <a:r>
              <a:rPr lang="en-US" dirty="0"/>
              <a:t> ad. Magna </a:t>
            </a:r>
            <a:r>
              <a:rPr lang="en-US" dirty="0" err="1"/>
              <a:t>omnes</a:t>
            </a:r>
            <a:r>
              <a:rPr lang="en-US" dirty="0"/>
              <a:t> </a:t>
            </a:r>
            <a:r>
              <a:rPr lang="en-US" dirty="0" err="1"/>
              <a:t>saperet</a:t>
            </a:r>
            <a:r>
              <a:rPr lang="en-US" dirty="0"/>
              <a:t>.</a:t>
            </a:r>
          </a:p>
        </p:txBody>
      </p:sp>
      <p:sp>
        <p:nvSpPr>
          <p:cNvPr id="30" name="Text Placeholder 8"/>
          <p:cNvSpPr>
            <a:spLocks noGrp="1"/>
          </p:cNvSpPr>
          <p:nvPr>
            <p:ph type="body" sz="quarter" idx="31" hasCustomPrompt="1"/>
          </p:nvPr>
        </p:nvSpPr>
        <p:spPr>
          <a:xfrm>
            <a:off x="6234112" y="3126744"/>
            <a:ext cx="2226572" cy="242315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lIns="324000" anchor="ctr"/>
          <a:lstStyle>
            <a:lvl1pPr marL="0" indent="0">
              <a:buNone/>
              <a:defRPr sz="105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HEADING. WHITE. U/C. 14PT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6060661" y="3064511"/>
            <a:ext cx="346903" cy="346903"/>
          </a:xfrm>
          <a:prstGeom prst="ellipse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2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6060661" y="3145146"/>
            <a:ext cx="346903" cy="20721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18729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HR Slide - Intro Text, Bullets and On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5661658" y="1176081"/>
            <a:ext cx="3243026" cy="330874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525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ONE GRAPH/CHART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4886294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4885340" cy="2735192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6209785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2" y="120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0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206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91981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. HR Slide - 2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WO GRAPHS/CHART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543910" y="1407493"/>
            <a:ext cx="3837590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3395227"/>
            <a:ext cx="3837590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3837590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45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4648912" y="1407493"/>
            <a:ext cx="3837590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48912" y="3395227"/>
            <a:ext cx="3837590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8912" y="1164977"/>
            <a:ext cx="3837590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8867884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. HR Slide - 3 Charts and Text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HREE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543911" y="1407493"/>
            <a:ext cx="2375638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1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3284426" y="1407493"/>
            <a:ext cx="2375638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84425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284426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6034740" y="1407493"/>
            <a:ext cx="2375638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034740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34740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272392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. HR Slide - 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SIX GRAPHS/CHART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Chart Placeholder 4"/>
          <p:cNvSpPr>
            <a:spLocks noGrp="1"/>
          </p:cNvSpPr>
          <p:nvPr>
            <p:ph type="chart" sz="quarter" idx="13" hasCustomPrompt="1"/>
          </p:nvPr>
        </p:nvSpPr>
        <p:spPr>
          <a:xfrm>
            <a:off x="543911" y="1407494"/>
            <a:ext cx="2375638" cy="1231338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1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6" name="Chart Placeholder 4"/>
          <p:cNvSpPr>
            <a:spLocks noGrp="1"/>
          </p:cNvSpPr>
          <p:nvPr>
            <p:ph type="chart" sz="quarter" idx="15" hasCustomPrompt="1"/>
          </p:nvPr>
        </p:nvSpPr>
        <p:spPr>
          <a:xfrm>
            <a:off x="3284426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284426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9" name="Chart Placeholder 4"/>
          <p:cNvSpPr>
            <a:spLocks noGrp="1"/>
          </p:cNvSpPr>
          <p:nvPr>
            <p:ph type="chart" sz="quarter" idx="18" hasCustomPrompt="1"/>
          </p:nvPr>
        </p:nvSpPr>
        <p:spPr>
          <a:xfrm>
            <a:off x="6034740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34740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21" hasCustomPrompt="1"/>
          </p:nvPr>
        </p:nvSpPr>
        <p:spPr>
          <a:xfrm>
            <a:off x="543911" y="3219965"/>
            <a:ext cx="2375638" cy="1231338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43911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3284426" y="321996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284426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5" hasCustomPrompt="1"/>
          </p:nvPr>
        </p:nvSpPr>
        <p:spPr>
          <a:xfrm>
            <a:off x="6034740" y="321996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HAR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6034740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43911" y="2801983"/>
            <a:ext cx="786646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80366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. HR Slide - Table 9 Rows /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9012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ABLE 9 ROWS AND 9 COLUMNS</a:t>
            </a:r>
          </a:p>
        </p:txBody>
      </p:sp>
      <p:graphicFrame>
        <p:nvGraphicFramePr>
          <p:cNvPr id="33" name="Group 3"/>
          <p:cNvGraphicFramePr>
            <a:graphicFrameLocks/>
          </p:cNvGraphicFramePr>
          <p:nvPr userDrawn="1">
            <p:custDataLst>
              <p:tags r:id="rId1"/>
            </p:custDataLst>
            <p:extLst/>
          </p:nvPr>
        </p:nvGraphicFramePr>
        <p:xfrm>
          <a:off x="587828" y="1151208"/>
          <a:ext cx="7783359" cy="3237776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2726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13833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24870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sz="9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</a:rPr>
                        <a:t>Subhead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36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Row description</a:t>
                      </a:r>
                      <a:endParaRPr kumimoji="0" 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US" sz="90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xx</a:t>
                      </a:r>
                      <a:endParaRPr kumimoji="0" 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49847" marR="49847" marT="27000" marB="27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34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5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76679743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. HR Slide - Table 4 Rows /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6883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ABLE 3 COLUMNS 4 ROWS</a:t>
            </a:r>
          </a:p>
        </p:txBody>
      </p:sp>
      <p:graphicFrame>
        <p:nvGraphicFramePr>
          <p:cNvPr id="34" name="Group 4"/>
          <p:cNvGraphicFramePr>
            <a:graphicFrameLocks noGrp="1"/>
          </p:cNvGraphicFramePr>
          <p:nvPr userDrawn="1">
            <p:custDataLst>
              <p:tags r:id="rId1"/>
            </p:custDataLst>
            <p:extLst/>
          </p:nvPr>
        </p:nvGraphicFramePr>
        <p:xfrm>
          <a:off x="715618" y="1188094"/>
          <a:ext cx="7655570" cy="3195637"/>
        </p:xfrm>
        <a:graphic>
          <a:graphicData uri="http://schemas.openxmlformats.org/drawingml/2006/table">
            <a:tbl>
              <a:tblPr/>
              <a:tblGrid>
                <a:gridCol w="8674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6271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627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6271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5395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endParaRPr kumimoji="0" lang="nl-NL" sz="800" b="0" i="1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5039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..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68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2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7037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3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6674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>
                          <a:tab pos="630238" algn="l"/>
                        </a:tabLst>
                      </a:pPr>
                      <a:r>
                        <a:rPr kumimoji="0" lang="en-US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4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tx2"/>
                        </a:buClr>
                        <a:buSzPct val="150000"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…</a:t>
                      </a:r>
                    </a:p>
                  </a:txBody>
                  <a:tcPr marL="67491" marR="67491" marT="67491" marB="67491" anchor="ctr" horzOverflow="overflow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7133041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. HR Slide - 1 Tab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4" hasCustomPrompt="1"/>
          </p:nvPr>
        </p:nvSpPr>
        <p:spPr>
          <a:xfrm>
            <a:off x="5660704" y="1176081"/>
            <a:ext cx="3243980" cy="33087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92175"/>
            <a:ext cx="7474995" cy="43997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ONE TABLE AND TEXT</a:t>
            </a:r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4886294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This slide is designed to be used when you only have a small intro paragraph and bullet points. 18PT</a:t>
            </a:r>
          </a:p>
        </p:txBody>
      </p:sp>
      <p:sp>
        <p:nvSpPr>
          <p:cNvPr id="46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4885340" cy="2735192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22454629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. HR Slide - 2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WO TABLES AND TEXT</a:t>
            </a:r>
          </a:p>
        </p:txBody>
      </p:sp>
      <p:sp>
        <p:nvSpPr>
          <p:cNvPr id="3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5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3395227"/>
            <a:ext cx="3837590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3837590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46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648912" y="3395227"/>
            <a:ext cx="3837590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648912" y="1164977"/>
            <a:ext cx="3837590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GRAPH HEADING. UPPERCASE ONLY. GREY. 12PT</a:t>
            </a:r>
          </a:p>
        </p:txBody>
      </p:sp>
      <p:sp>
        <p:nvSpPr>
          <p:cNvPr id="15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543910" y="1407493"/>
            <a:ext cx="3837590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16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4648912" y="1407493"/>
            <a:ext cx="3837590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6166627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. HR Slide - 3 Tabl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THREE TABLES AND TEX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543910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1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284425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284426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034740" y="3395227"/>
            <a:ext cx="2385436" cy="973931"/>
          </a:xfrm>
          <a:prstGeom prst="rect">
            <a:avLst/>
          </a:prstGeom>
        </p:spPr>
        <p:txBody>
          <a:bodyPr lIns="0" tIns="0" rIns="0" bIns="0"/>
          <a:lstStyle>
            <a:lvl1pPr marL="104775" indent="-104775">
              <a:lnSpc>
                <a:spcPct val="100000"/>
              </a:lnSpc>
              <a:spcBef>
                <a:spcPts val="0"/>
              </a:spcBef>
              <a:tabLst/>
              <a:defRPr sz="75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</a:p>
          <a:p>
            <a:pPr lvl="0"/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endParaRPr lang="en-US" dirty="0"/>
          </a:p>
          <a:p>
            <a:pPr lvl="0"/>
            <a:r>
              <a:rPr lang="en-US" dirty="0"/>
              <a:t>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</a:t>
            </a:r>
          </a:p>
          <a:p>
            <a:pPr lvl="0"/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endParaRPr lang="en-US" dirty="0"/>
          </a:p>
          <a:p>
            <a:pPr lvl="0"/>
            <a:r>
              <a:rPr lang="en-US" dirty="0" err="1"/>
              <a:t>Aelicata</a:t>
            </a:r>
            <a:r>
              <a:rPr lang="en-US" dirty="0"/>
              <a:t> cu. No cum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endParaRPr lang="en-US" dirty="0"/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34740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18" name="Table Placeholder 5"/>
          <p:cNvSpPr>
            <a:spLocks noGrp="1"/>
          </p:cNvSpPr>
          <p:nvPr>
            <p:ph type="tbl" sz="quarter" idx="21" hasCustomPrompt="1"/>
          </p:nvPr>
        </p:nvSpPr>
        <p:spPr>
          <a:xfrm>
            <a:off x="543910" y="1407493"/>
            <a:ext cx="2375639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19" name="Table Placeholder 5"/>
          <p:cNvSpPr>
            <a:spLocks noGrp="1"/>
          </p:cNvSpPr>
          <p:nvPr>
            <p:ph type="tbl" sz="quarter" idx="22" hasCustomPrompt="1"/>
          </p:nvPr>
        </p:nvSpPr>
        <p:spPr>
          <a:xfrm>
            <a:off x="3284425" y="1407493"/>
            <a:ext cx="2375639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0" name="Table Placeholder 5"/>
          <p:cNvSpPr>
            <a:spLocks noGrp="1"/>
          </p:cNvSpPr>
          <p:nvPr>
            <p:ph type="tbl" sz="quarter" idx="23" hasCustomPrompt="1"/>
          </p:nvPr>
        </p:nvSpPr>
        <p:spPr>
          <a:xfrm>
            <a:off x="6025412" y="1407493"/>
            <a:ext cx="2375639" cy="191132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3080927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. HR Slide - 6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50097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SIX TABLES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1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48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3284426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5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34740" y="1164977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543911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3284426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6034740" y="2977448"/>
            <a:ext cx="2375638" cy="16218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HEADING. UPPERCASE ONLY. GREY. 12PT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43911" y="2801983"/>
            <a:ext cx="7866467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able Placeholder 5"/>
          <p:cNvSpPr>
            <a:spLocks noGrp="1"/>
          </p:cNvSpPr>
          <p:nvPr>
            <p:ph type="tbl" sz="quarter" idx="27" hasCustomPrompt="1"/>
          </p:nvPr>
        </p:nvSpPr>
        <p:spPr>
          <a:xfrm>
            <a:off x="543910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5" name="Table Placeholder 5"/>
          <p:cNvSpPr>
            <a:spLocks noGrp="1"/>
          </p:cNvSpPr>
          <p:nvPr>
            <p:ph type="tbl" sz="quarter" idx="28" hasCustomPrompt="1"/>
          </p:nvPr>
        </p:nvSpPr>
        <p:spPr>
          <a:xfrm>
            <a:off x="3284425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6" name="Table Placeholder 5"/>
          <p:cNvSpPr>
            <a:spLocks noGrp="1"/>
          </p:cNvSpPr>
          <p:nvPr>
            <p:ph type="tbl" sz="quarter" idx="29" hasCustomPrompt="1"/>
          </p:nvPr>
        </p:nvSpPr>
        <p:spPr>
          <a:xfrm>
            <a:off x="6034740" y="1407493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7" name="Table Placeholder 5"/>
          <p:cNvSpPr>
            <a:spLocks noGrp="1"/>
          </p:cNvSpPr>
          <p:nvPr>
            <p:ph type="tbl" sz="quarter" idx="30" hasCustomPrompt="1"/>
          </p:nvPr>
        </p:nvSpPr>
        <p:spPr>
          <a:xfrm>
            <a:off x="543910" y="322635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8" name="Table Placeholder 5"/>
          <p:cNvSpPr>
            <a:spLocks noGrp="1"/>
          </p:cNvSpPr>
          <p:nvPr>
            <p:ph type="tbl" sz="quarter" idx="31" hasCustomPrompt="1"/>
          </p:nvPr>
        </p:nvSpPr>
        <p:spPr>
          <a:xfrm>
            <a:off x="3284425" y="322635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9" name="Table Placeholder 5"/>
          <p:cNvSpPr>
            <a:spLocks noGrp="1"/>
          </p:cNvSpPr>
          <p:nvPr>
            <p:ph type="tbl" sz="quarter" idx="32" hasCustomPrompt="1"/>
          </p:nvPr>
        </p:nvSpPr>
        <p:spPr>
          <a:xfrm>
            <a:off x="6034740" y="3226354"/>
            <a:ext cx="2375638" cy="123133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TABL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1340225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. HR Slide - Process Closed Lo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9106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PROCESS CLOSED LOOP WITH INTRO TEXT AND BULLETS</a:t>
            </a:r>
          </a:p>
        </p:txBody>
      </p:sp>
      <p:grpSp>
        <p:nvGrpSpPr>
          <p:cNvPr id="33" name="Group 32"/>
          <p:cNvGrpSpPr/>
          <p:nvPr userDrawn="1"/>
        </p:nvGrpSpPr>
        <p:grpSpPr>
          <a:xfrm>
            <a:off x="4614557" y="1148120"/>
            <a:ext cx="3904060" cy="3401615"/>
            <a:chOff x="1905000" y="1773238"/>
            <a:chExt cx="5205413" cy="4535487"/>
          </a:xfrm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4" name="Freeform 33"/>
            <p:cNvSpPr>
              <a:spLocks/>
            </p:cNvSpPr>
            <p:nvPr/>
          </p:nvSpPr>
          <p:spPr bwMode="blackWhite">
            <a:xfrm>
              <a:off x="5729288" y="3216275"/>
              <a:ext cx="1381125" cy="1874838"/>
            </a:xfrm>
            <a:custGeom>
              <a:avLst/>
              <a:gdLst>
                <a:gd name="T0" fmla="*/ 461616 w 852"/>
                <a:gd name="T1" fmla="*/ 1873218 h 1157"/>
                <a:gd name="T2" fmla="*/ 1493670 w 852"/>
                <a:gd name="T3" fmla="*/ 1852152 h 1157"/>
                <a:gd name="T4" fmla="*/ 1172469 w 852"/>
                <a:gd name="T5" fmla="*/ 1672284 h 1157"/>
                <a:gd name="T6" fmla="*/ 1233901 w 852"/>
                <a:gd name="T7" fmla="*/ 1552372 h 1157"/>
                <a:gd name="T8" fmla="*/ 1286557 w 852"/>
                <a:gd name="T9" fmla="*/ 1429219 h 1157"/>
                <a:gd name="T10" fmla="*/ 1330437 w 852"/>
                <a:gd name="T11" fmla="*/ 1302826 h 1157"/>
                <a:gd name="T12" fmla="*/ 1360275 w 852"/>
                <a:gd name="T13" fmla="*/ 1171571 h 1157"/>
                <a:gd name="T14" fmla="*/ 1386603 w 852"/>
                <a:gd name="T15" fmla="*/ 1040316 h 1157"/>
                <a:gd name="T16" fmla="*/ 1400645 w 852"/>
                <a:gd name="T17" fmla="*/ 909061 h 1157"/>
                <a:gd name="T18" fmla="*/ 1405910 w 852"/>
                <a:gd name="T19" fmla="*/ 774566 h 1157"/>
                <a:gd name="T20" fmla="*/ 1400645 w 852"/>
                <a:gd name="T21" fmla="*/ 640070 h 1157"/>
                <a:gd name="T22" fmla="*/ 1384848 w 852"/>
                <a:gd name="T23" fmla="*/ 508815 h 1157"/>
                <a:gd name="T24" fmla="*/ 1360275 w 852"/>
                <a:gd name="T25" fmla="*/ 377560 h 1157"/>
                <a:gd name="T26" fmla="*/ 1326926 w 852"/>
                <a:gd name="T27" fmla="*/ 247926 h 1157"/>
                <a:gd name="T28" fmla="*/ 1281291 w 852"/>
                <a:gd name="T29" fmla="*/ 121532 h 1157"/>
                <a:gd name="T30" fmla="*/ 1230391 w 852"/>
                <a:gd name="T31" fmla="*/ 0 h 1157"/>
                <a:gd name="T32" fmla="*/ 956581 w 852"/>
                <a:gd name="T33" fmla="*/ 479647 h 1157"/>
                <a:gd name="T34" fmla="*/ 365080 w 852"/>
                <a:gd name="T35" fmla="*/ 471545 h 1157"/>
                <a:gd name="T36" fmla="*/ 389653 w 852"/>
                <a:gd name="T37" fmla="*/ 559048 h 1157"/>
                <a:gd name="T38" fmla="*/ 405450 w 852"/>
                <a:gd name="T39" fmla="*/ 651413 h 1157"/>
                <a:gd name="T40" fmla="*/ 412470 w 852"/>
                <a:gd name="T41" fmla="*/ 743777 h 1157"/>
                <a:gd name="T42" fmla="*/ 410715 w 852"/>
                <a:gd name="T43" fmla="*/ 832901 h 1157"/>
                <a:gd name="T44" fmla="*/ 401939 w 852"/>
                <a:gd name="T45" fmla="*/ 925266 h 1157"/>
                <a:gd name="T46" fmla="*/ 380877 w 852"/>
                <a:gd name="T47" fmla="*/ 1016010 h 1157"/>
                <a:gd name="T48" fmla="*/ 356304 w 852"/>
                <a:gd name="T49" fmla="*/ 1106754 h 1157"/>
                <a:gd name="T50" fmla="*/ 317690 w 852"/>
                <a:gd name="T51" fmla="*/ 1189396 h 1157"/>
                <a:gd name="T52" fmla="*/ 0 w 852"/>
                <a:gd name="T53" fmla="*/ 1017630 h 1157"/>
                <a:gd name="T54" fmla="*/ 461616 w 852"/>
                <a:gd name="T55" fmla="*/ 1873218 h 115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2"/>
                <a:gd name="T85" fmla="*/ 0 h 1157"/>
                <a:gd name="T86" fmla="*/ 852 w 852"/>
                <a:gd name="T87" fmla="*/ 1157 h 115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2" h="1157">
                  <a:moveTo>
                    <a:pt x="263" y="1156"/>
                  </a:moveTo>
                  <a:lnTo>
                    <a:pt x="851" y="1143"/>
                  </a:lnTo>
                  <a:lnTo>
                    <a:pt x="668" y="1032"/>
                  </a:lnTo>
                  <a:lnTo>
                    <a:pt x="703" y="958"/>
                  </a:lnTo>
                  <a:lnTo>
                    <a:pt x="733" y="882"/>
                  </a:lnTo>
                  <a:lnTo>
                    <a:pt x="758" y="804"/>
                  </a:lnTo>
                  <a:lnTo>
                    <a:pt x="775" y="723"/>
                  </a:lnTo>
                  <a:lnTo>
                    <a:pt x="790" y="642"/>
                  </a:lnTo>
                  <a:lnTo>
                    <a:pt x="798" y="561"/>
                  </a:lnTo>
                  <a:lnTo>
                    <a:pt x="801" y="478"/>
                  </a:lnTo>
                  <a:lnTo>
                    <a:pt x="798" y="395"/>
                  </a:lnTo>
                  <a:lnTo>
                    <a:pt x="789" y="314"/>
                  </a:lnTo>
                  <a:lnTo>
                    <a:pt x="775" y="233"/>
                  </a:lnTo>
                  <a:lnTo>
                    <a:pt x="756" y="153"/>
                  </a:lnTo>
                  <a:lnTo>
                    <a:pt x="730" y="75"/>
                  </a:lnTo>
                  <a:lnTo>
                    <a:pt x="701" y="0"/>
                  </a:lnTo>
                  <a:lnTo>
                    <a:pt x="545" y="296"/>
                  </a:lnTo>
                  <a:lnTo>
                    <a:pt x="208" y="291"/>
                  </a:lnTo>
                  <a:lnTo>
                    <a:pt x="222" y="345"/>
                  </a:lnTo>
                  <a:lnTo>
                    <a:pt x="231" y="402"/>
                  </a:lnTo>
                  <a:lnTo>
                    <a:pt x="235" y="459"/>
                  </a:lnTo>
                  <a:lnTo>
                    <a:pt x="234" y="514"/>
                  </a:lnTo>
                  <a:lnTo>
                    <a:pt x="229" y="571"/>
                  </a:lnTo>
                  <a:lnTo>
                    <a:pt x="217" y="627"/>
                  </a:lnTo>
                  <a:lnTo>
                    <a:pt x="203" y="683"/>
                  </a:lnTo>
                  <a:lnTo>
                    <a:pt x="181" y="734"/>
                  </a:lnTo>
                  <a:lnTo>
                    <a:pt x="0" y="628"/>
                  </a:lnTo>
                  <a:lnTo>
                    <a:pt x="263" y="1156"/>
                  </a:lnTo>
                </a:path>
              </a:pathLst>
            </a:custGeom>
            <a:solidFill>
              <a:schemeClr val="accent2"/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>
                <a:defRPr/>
              </a:pPr>
              <a:endParaRPr lang="en-US" sz="1050" dirty="0">
                <a:solidFill>
                  <a:srgbClr val="FFFFFF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blackWhite">
            <a:xfrm>
              <a:off x="5221288" y="2070100"/>
              <a:ext cx="1797050" cy="1557338"/>
            </a:xfrm>
            <a:custGeom>
              <a:avLst/>
              <a:gdLst>
                <a:gd name="T0" fmla="*/ 2147483647 w 1109"/>
                <a:gd name="T1" fmla="*/ 2147483647 h 962"/>
                <a:gd name="T2" fmla="*/ 2147483647 w 1109"/>
                <a:gd name="T3" fmla="*/ 2147483647 h 962"/>
                <a:gd name="T4" fmla="*/ 2147483647 w 1109"/>
                <a:gd name="T5" fmla="*/ 2147483647 h 962"/>
                <a:gd name="T6" fmla="*/ 2147483647 w 1109"/>
                <a:gd name="T7" fmla="*/ 2147483647 h 962"/>
                <a:gd name="T8" fmla="*/ 2147483647 w 1109"/>
                <a:gd name="T9" fmla="*/ 2147483647 h 962"/>
                <a:gd name="T10" fmla="*/ 2147483647 w 1109"/>
                <a:gd name="T11" fmla="*/ 2147483647 h 962"/>
                <a:gd name="T12" fmla="*/ 2147483647 w 1109"/>
                <a:gd name="T13" fmla="*/ 2147483647 h 962"/>
                <a:gd name="T14" fmla="*/ 2147483647 w 1109"/>
                <a:gd name="T15" fmla="*/ 2147483647 h 962"/>
                <a:gd name="T16" fmla="*/ 2147483647 w 1109"/>
                <a:gd name="T17" fmla="*/ 2147483647 h 962"/>
                <a:gd name="T18" fmla="*/ 2147483647 w 1109"/>
                <a:gd name="T19" fmla="*/ 2147483647 h 962"/>
                <a:gd name="T20" fmla="*/ 2147483647 w 1109"/>
                <a:gd name="T21" fmla="*/ 2147483647 h 962"/>
                <a:gd name="T22" fmla="*/ 2147483647 w 1109"/>
                <a:gd name="T23" fmla="*/ 2147483647 h 962"/>
                <a:gd name="T24" fmla="*/ 2147483647 w 1109"/>
                <a:gd name="T25" fmla="*/ 2147483647 h 962"/>
                <a:gd name="T26" fmla="*/ 2147483647 w 1109"/>
                <a:gd name="T27" fmla="*/ 2147483647 h 962"/>
                <a:gd name="T28" fmla="*/ 2147483647 w 1109"/>
                <a:gd name="T29" fmla="*/ 2147483647 h 962"/>
                <a:gd name="T30" fmla="*/ 2147483647 w 1109"/>
                <a:gd name="T31" fmla="*/ 2147483647 h 962"/>
                <a:gd name="T32" fmla="*/ 2147483647 w 1109"/>
                <a:gd name="T33" fmla="*/ 2147483647 h 962"/>
                <a:gd name="T34" fmla="*/ 2147483647 w 1109"/>
                <a:gd name="T35" fmla="*/ 2147483647 h 962"/>
                <a:gd name="T36" fmla="*/ 2147483647 w 1109"/>
                <a:gd name="T37" fmla="*/ 2147483647 h 962"/>
                <a:gd name="T38" fmla="*/ 0 w 1109"/>
                <a:gd name="T39" fmla="*/ 0 h 962"/>
                <a:gd name="T40" fmla="*/ 2147483647 w 1109"/>
                <a:gd name="T41" fmla="*/ 2147483647 h 962"/>
                <a:gd name="T42" fmla="*/ 2147483647 w 1109"/>
                <a:gd name="T43" fmla="*/ 2147483647 h 962"/>
                <a:gd name="T44" fmla="*/ 2147483647 w 1109"/>
                <a:gd name="T45" fmla="*/ 2147483647 h 962"/>
                <a:gd name="T46" fmla="*/ 2147483647 w 1109"/>
                <a:gd name="T47" fmla="*/ 2147483647 h 962"/>
                <a:gd name="T48" fmla="*/ 2147483647 w 1109"/>
                <a:gd name="T49" fmla="*/ 2147483647 h 962"/>
                <a:gd name="T50" fmla="*/ 2147483647 w 1109"/>
                <a:gd name="T51" fmla="*/ 2147483647 h 962"/>
                <a:gd name="T52" fmla="*/ 2147483647 w 1109"/>
                <a:gd name="T53" fmla="*/ 2147483647 h 962"/>
                <a:gd name="T54" fmla="*/ 2147483647 w 1109"/>
                <a:gd name="T55" fmla="*/ 2147483647 h 962"/>
                <a:gd name="T56" fmla="*/ 2147483647 w 1109"/>
                <a:gd name="T57" fmla="*/ 2147483647 h 962"/>
                <a:gd name="T58" fmla="*/ 2147483647 w 1109"/>
                <a:gd name="T59" fmla="*/ 2147483647 h 962"/>
                <a:gd name="T60" fmla="*/ 2147483647 w 1109"/>
                <a:gd name="T61" fmla="*/ 2147483647 h 9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09"/>
                <a:gd name="T94" fmla="*/ 0 h 962"/>
                <a:gd name="T95" fmla="*/ 1109 w 1109"/>
                <a:gd name="T96" fmla="*/ 962 h 9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09" h="962">
                  <a:moveTo>
                    <a:pt x="246" y="959"/>
                  </a:moveTo>
                  <a:lnTo>
                    <a:pt x="839" y="961"/>
                  </a:lnTo>
                  <a:lnTo>
                    <a:pt x="934" y="786"/>
                  </a:lnTo>
                  <a:lnTo>
                    <a:pt x="1023" y="611"/>
                  </a:lnTo>
                  <a:lnTo>
                    <a:pt x="1108" y="429"/>
                  </a:lnTo>
                  <a:lnTo>
                    <a:pt x="930" y="539"/>
                  </a:lnTo>
                  <a:lnTo>
                    <a:pt x="885" y="471"/>
                  </a:lnTo>
                  <a:lnTo>
                    <a:pt x="837" y="406"/>
                  </a:lnTo>
                  <a:lnTo>
                    <a:pt x="783" y="344"/>
                  </a:lnTo>
                  <a:lnTo>
                    <a:pt x="724" y="287"/>
                  </a:lnTo>
                  <a:lnTo>
                    <a:pt x="663" y="235"/>
                  </a:lnTo>
                  <a:lnTo>
                    <a:pt x="598" y="188"/>
                  </a:lnTo>
                  <a:lnTo>
                    <a:pt x="530" y="145"/>
                  </a:lnTo>
                  <a:lnTo>
                    <a:pt x="460" y="107"/>
                  </a:lnTo>
                  <a:lnTo>
                    <a:pt x="387" y="75"/>
                  </a:lnTo>
                  <a:lnTo>
                    <a:pt x="311" y="48"/>
                  </a:lnTo>
                  <a:lnTo>
                    <a:pt x="236" y="27"/>
                  </a:lnTo>
                  <a:lnTo>
                    <a:pt x="158" y="12"/>
                  </a:lnTo>
                  <a:lnTo>
                    <a:pt x="79" y="2"/>
                  </a:lnTo>
                  <a:lnTo>
                    <a:pt x="0" y="0"/>
                  </a:lnTo>
                  <a:lnTo>
                    <a:pt x="210" y="277"/>
                  </a:lnTo>
                  <a:lnTo>
                    <a:pt x="80" y="601"/>
                  </a:lnTo>
                  <a:lnTo>
                    <a:pt x="134" y="614"/>
                  </a:lnTo>
                  <a:lnTo>
                    <a:pt x="186" y="631"/>
                  </a:lnTo>
                  <a:lnTo>
                    <a:pt x="236" y="654"/>
                  </a:lnTo>
                  <a:lnTo>
                    <a:pt x="283" y="681"/>
                  </a:lnTo>
                  <a:lnTo>
                    <a:pt x="328" y="715"/>
                  </a:lnTo>
                  <a:lnTo>
                    <a:pt x="370" y="752"/>
                  </a:lnTo>
                  <a:lnTo>
                    <a:pt x="408" y="792"/>
                  </a:lnTo>
                  <a:lnTo>
                    <a:pt x="446" y="837"/>
                  </a:lnTo>
                  <a:lnTo>
                    <a:pt x="246" y="959"/>
                  </a:lnTo>
                </a:path>
              </a:pathLst>
            </a:custGeom>
            <a:solidFill>
              <a:schemeClr val="accent2">
                <a:lumMod val="75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/>
              <a:endParaRPr lang="en-US" sz="1050">
                <a:solidFill>
                  <a:srgbClr val="FFFFFF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blackWhite">
            <a:xfrm>
              <a:off x="1905000" y="1773238"/>
              <a:ext cx="3573463" cy="1779587"/>
            </a:xfrm>
            <a:custGeom>
              <a:avLst/>
              <a:gdLst>
                <a:gd name="T0" fmla="*/ 0 w 2206"/>
                <a:gd name="T1" fmla="*/ 2147483647 h 1099"/>
                <a:gd name="T2" fmla="*/ 2147483647 w 2206"/>
                <a:gd name="T3" fmla="*/ 2147483647 h 1099"/>
                <a:gd name="T4" fmla="*/ 2147483647 w 2206"/>
                <a:gd name="T5" fmla="*/ 2147483647 h 1099"/>
                <a:gd name="T6" fmla="*/ 2147483647 w 2206"/>
                <a:gd name="T7" fmla="*/ 2147483647 h 1099"/>
                <a:gd name="T8" fmla="*/ 2147483647 w 2206"/>
                <a:gd name="T9" fmla="*/ 2147483647 h 1099"/>
                <a:gd name="T10" fmla="*/ 2147483647 w 2206"/>
                <a:gd name="T11" fmla="*/ 2147483647 h 1099"/>
                <a:gd name="T12" fmla="*/ 2147483647 w 2206"/>
                <a:gd name="T13" fmla="*/ 2147483647 h 1099"/>
                <a:gd name="T14" fmla="*/ 2147483647 w 2206"/>
                <a:gd name="T15" fmla="*/ 2147483647 h 1099"/>
                <a:gd name="T16" fmla="*/ 2147483647 w 2206"/>
                <a:gd name="T17" fmla="*/ 2147483647 h 1099"/>
                <a:gd name="T18" fmla="*/ 2147483647 w 2206"/>
                <a:gd name="T19" fmla="*/ 2147483647 h 1099"/>
                <a:gd name="T20" fmla="*/ 2147483647 w 2206"/>
                <a:gd name="T21" fmla="*/ 2147483647 h 1099"/>
                <a:gd name="T22" fmla="*/ 2147483647 w 2206"/>
                <a:gd name="T23" fmla="*/ 2147483647 h 1099"/>
                <a:gd name="T24" fmla="*/ 2147483647 w 2206"/>
                <a:gd name="T25" fmla="*/ 2147483647 h 1099"/>
                <a:gd name="T26" fmla="*/ 2147483647 w 2206"/>
                <a:gd name="T27" fmla="*/ 2147483647 h 1099"/>
                <a:gd name="T28" fmla="*/ 2147483647 w 2206"/>
                <a:gd name="T29" fmla="*/ 0 h 1099"/>
                <a:gd name="T30" fmla="*/ 2147483647 w 2206"/>
                <a:gd name="T31" fmla="*/ 2147483647 h 1099"/>
                <a:gd name="T32" fmla="*/ 0 w 2206"/>
                <a:gd name="T33" fmla="*/ 2147483647 h 1099"/>
                <a:gd name="T34" fmla="*/ 0 w 2206"/>
                <a:gd name="T35" fmla="*/ 2147483647 h 109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06"/>
                <a:gd name="T55" fmla="*/ 0 h 1099"/>
                <a:gd name="T56" fmla="*/ 2206 w 2206"/>
                <a:gd name="T57" fmla="*/ 1099 h 109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06" h="1099">
                  <a:moveTo>
                    <a:pt x="0" y="864"/>
                  </a:moveTo>
                  <a:lnTo>
                    <a:pt x="1339" y="864"/>
                  </a:lnTo>
                  <a:lnTo>
                    <a:pt x="1552" y="1098"/>
                  </a:lnTo>
                  <a:lnTo>
                    <a:pt x="1587" y="1045"/>
                  </a:lnTo>
                  <a:lnTo>
                    <a:pt x="1625" y="996"/>
                  </a:lnTo>
                  <a:lnTo>
                    <a:pt x="1666" y="948"/>
                  </a:lnTo>
                  <a:lnTo>
                    <a:pt x="1711" y="906"/>
                  </a:lnTo>
                  <a:lnTo>
                    <a:pt x="1754" y="872"/>
                  </a:lnTo>
                  <a:lnTo>
                    <a:pt x="1800" y="845"/>
                  </a:lnTo>
                  <a:lnTo>
                    <a:pt x="1850" y="822"/>
                  </a:lnTo>
                  <a:lnTo>
                    <a:pt x="1900" y="803"/>
                  </a:lnTo>
                  <a:lnTo>
                    <a:pt x="1953" y="790"/>
                  </a:lnTo>
                  <a:lnTo>
                    <a:pt x="1983" y="1013"/>
                  </a:lnTo>
                  <a:lnTo>
                    <a:pt x="2205" y="471"/>
                  </a:lnTo>
                  <a:lnTo>
                    <a:pt x="1872" y="0"/>
                  </a:lnTo>
                  <a:lnTo>
                    <a:pt x="1873" y="196"/>
                  </a:lnTo>
                  <a:lnTo>
                    <a:pt x="0" y="196"/>
                  </a:lnTo>
                  <a:lnTo>
                    <a:pt x="0" y="864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/>
              <a:endParaRPr lang="en-US" sz="1050">
                <a:solidFill>
                  <a:srgbClr val="FFFFFF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blackWhite">
            <a:xfrm>
              <a:off x="4867275" y="4592638"/>
              <a:ext cx="1806575" cy="1716087"/>
            </a:xfrm>
            <a:custGeom>
              <a:avLst/>
              <a:gdLst>
                <a:gd name="T0" fmla="*/ 0 w 1115"/>
                <a:gd name="T1" fmla="*/ 857233 h 1059"/>
                <a:gd name="T2" fmla="*/ 489786 w 1115"/>
                <a:gd name="T3" fmla="*/ 1714467 h 1059"/>
                <a:gd name="T4" fmla="*/ 489786 w 1115"/>
                <a:gd name="T5" fmla="*/ 1320690 h 1059"/>
                <a:gd name="T6" fmla="*/ 619693 w 1115"/>
                <a:gd name="T7" fmla="*/ 1309347 h 1059"/>
                <a:gd name="T8" fmla="*/ 753111 w 1115"/>
                <a:gd name="T9" fmla="*/ 1288280 h 1059"/>
                <a:gd name="T10" fmla="*/ 881263 w 1115"/>
                <a:gd name="T11" fmla="*/ 1259112 h 1059"/>
                <a:gd name="T12" fmla="*/ 1005904 w 1115"/>
                <a:gd name="T13" fmla="*/ 1221841 h 1059"/>
                <a:gd name="T14" fmla="*/ 1128789 w 1115"/>
                <a:gd name="T15" fmla="*/ 1176467 h 1059"/>
                <a:gd name="T16" fmla="*/ 1249919 w 1115"/>
                <a:gd name="T17" fmla="*/ 1122992 h 1059"/>
                <a:gd name="T18" fmla="*/ 1365782 w 1115"/>
                <a:gd name="T19" fmla="*/ 1061413 h 1059"/>
                <a:gd name="T20" fmla="*/ 1479890 w 1115"/>
                <a:gd name="T21" fmla="*/ 993353 h 1059"/>
                <a:gd name="T22" fmla="*/ 1581709 w 1115"/>
                <a:gd name="T23" fmla="*/ 913950 h 1059"/>
                <a:gd name="T24" fmla="*/ 1687039 w 1115"/>
                <a:gd name="T25" fmla="*/ 831306 h 1059"/>
                <a:gd name="T26" fmla="*/ 1781836 w 1115"/>
                <a:gd name="T27" fmla="*/ 738938 h 1059"/>
                <a:gd name="T28" fmla="*/ 1874878 w 1115"/>
                <a:gd name="T29" fmla="*/ 640089 h 1059"/>
                <a:gd name="T30" fmla="*/ 1955631 w 1115"/>
                <a:gd name="T31" fmla="*/ 539619 h 1059"/>
                <a:gd name="T32" fmla="*/ 1362271 w 1115"/>
                <a:gd name="T33" fmla="*/ 570408 h 1059"/>
                <a:gd name="T34" fmla="*/ 1093679 w 1115"/>
                <a:gd name="T35" fmla="*/ 58337 h 1059"/>
                <a:gd name="T36" fmla="*/ 1037503 w 1115"/>
                <a:gd name="T37" fmla="*/ 111813 h 1059"/>
                <a:gd name="T38" fmla="*/ 977816 w 1115"/>
                <a:gd name="T39" fmla="*/ 158807 h 1059"/>
                <a:gd name="T40" fmla="*/ 905840 w 1115"/>
                <a:gd name="T41" fmla="*/ 207421 h 1059"/>
                <a:gd name="T42" fmla="*/ 828598 w 1115"/>
                <a:gd name="T43" fmla="*/ 254415 h 1059"/>
                <a:gd name="T44" fmla="*/ 746089 w 1115"/>
                <a:gd name="T45" fmla="*/ 288445 h 1059"/>
                <a:gd name="T46" fmla="*/ 665336 w 1115"/>
                <a:gd name="T47" fmla="*/ 319234 h 1059"/>
                <a:gd name="T48" fmla="*/ 579316 w 1115"/>
                <a:gd name="T49" fmla="*/ 341921 h 1059"/>
                <a:gd name="T50" fmla="*/ 489786 w 1115"/>
                <a:gd name="T51" fmla="*/ 356505 h 1059"/>
                <a:gd name="T52" fmla="*/ 489786 w 1115"/>
                <a:gd name="T53" fmla="*/ 0 h 1059"/>
                <a:gd name="T54" fmla="*/ 0 w 1115"/>
                <a:gd name="T55" fmla="*/ 857233 h 10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115"/>
                <a:gd name="T85" fmla="*/ 0 h 1059"/>
                <a:gd name="T86" fmla="*/ 1115 w 1115"/>
                <a:gd name="T87" fmla="*/ 1059 h 10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115" h="1059">
                  <a:moveTo>
                    <a:pt x="0" y="529"/>
                  </a:moveTo>
                  <a:lnTo>
                    <a:pt x="279" y="1058"/>
                  </a:lnTo>
                  <a:lnTo>
                    <a:pt x="279" y="815"/>
                  </a:lnTo>
                  <a:lnTo>
                    <a:pt x="353" y="808"/>
                  </a:lnTo>
                  <a:lnTo>
                    <a:pt x="429" y="795"/>
                  </a:lnTo>
                  <a:lnTo>
                    <a:pt x="502" y="777"/>
                  </a:lnTo>
                  <a:lnTo>
                    <a:pt x="573" y="754"/>
                  </a:lnTo>
                  <a:lnTo>
                    <a:pt x="643" y="726"/>
                  </a:lnTo>
                  <a:lnTo>
                    <a:pt x="712" y="693"/>
                  </a:lnTo>
                  <a:lnTo>
                    <a:pt x="778" y="655"/>
                  </a:lnTo>
                  <a:lnTo>
                    <a:pt x="843" y="613"/>
                  </a:lnTo>
                  <a:lnTo>
                    <a:pt x="901" y="564"/>
                  </a:lnTo>
                  <a:lnTo>
                    <a:pt x="961" y="513"/>
                  </a:lnTo>
                  <a:lnTo>
                    <a:pt x="1015" y="456"/>
                  </a:lnTo>
                  <a:lnTo>
                    <a:pt x="1068" y="395"/>
                  </a:lnTo>
                  <a:lnTo>
                    <a:pt x="1114" y="333"/>
                  </a:lnTo>
                  <a:lnTo>
                    <a:pt x="776" y="352"/>
                  </a:lnTo>
                  <a:lnTo>
                    <a:pt x="623" y="36"/>
                  </a:lnTo>
                  <a:lnTo>
                    <a:pt x="591" y="69"/>
                  </a:lnTo>
                  <a:lnTo>
                    <a:pt x="557" y="98"/>
                  </a:lnTo>
                  <a:lnTo>
                    <a:pt x="516" y="128"/>
                  </a:lnTo>
                  <a:lnTo>
                    <a:pt x="472" y="157"/>
                  </a:lnTo>
                  <a:lnTo>
                    <a:pt x="425" y="178"/>
                  </a:lnTo>
                  <a:lnTo>
                    <a:pt x="379" y="197"/>
                  </a:lnTo>
                  <a:lnTo>
                    <a:pt x="330" y="211"/>
                  </a:lnTo>
                  <a:lnTo>
                    <a:pt x="279" y="220"/>
                  </a:lnTo>
                  <a:lnTo>
                    <a:pt x="279" y="0"/>
                  </a:lnTo>
                  <a:lnTo>
                    <a:pt x="0" y="529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>
                <a:defRPr/>
              </a:pPr>
              <a:endParaRPr lang="en-US" sz="1050" dirty="0">
                <a:solidFill>
                  <a:srgbClr val="FFFFFF"/>
                </a:solidFill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blackWhite">
            <a:xfrm>
              <a:off x="3294063" y="4378325"/>
              <a:ext cx="1719262" cy="1531938"/>
            </a:xfrm>
            <a:custGeom>
              <a:avLst/>
              <a:gdLst>
                <a:gd name="T0" fmla="*/ 2147483647 w 1061"/>
                <a:gd name="T1" fmla="*/ 0 h 946"/>
                <a:gd name="T2" fmla="*/ 0 w 1061"/>
                <a:gd name="T3" fmla="*/ 2147483647 h 946"/>
                <a:gd name="T4" fmla="*/ 2147483647 w 1061"/>
                <a:gd name="T5" fmla="*/ 2147483647 h 946"/>
                <a:gd name="T6" fmla="*/ 2147483647 w 1061"/>
                <a:gd name="T7" fmla="*/ 2147483647 h 946"/>
                <a:gd name="T8" fmla="*/ 2147483647 w 1061"/>
                <a:gd name="T9" fmla="*/ 2147483647 h 946"/>
                <a:gd name="T10" fmla="*/ 2147483647 w 1061"/>
                <a:gd name="T11" fmla="*/ 2147483647 h 946"/>
                <a:gd name="T12" fmla="*/ 2147483647 w 1061"/>
                <a:gd name="T13" fmla="*/ 2147483647 h 946"/>
                <a:gd name="T14" fmla="*/ 2147483647 w 1061"/>
                <a:gd name="T15" fmla="*/ 2147483647 h 946"/>
                <a:gd name="T16" fmla="*/ 2147483647 w 1061"/>
                <a:gd name="T17" fmla="*/ 2147483647 h 946"/>
                <a:gd name="T18" fmla="*/ 2147483647 w 1061"/>
                <a:gd name="T19" fmla="*/ 2147483647 h 946"/>
                <a:gd name="T20" fmla="*/ 2147483647 w 1061"/>
                <a:gd name="T21" fmla="*/ 2147483647 h 946"/>
                <a:gd name="T22" fmla="*/ 2147483647 w 1061"/>
                <a:gd name="T23" fmla="*/ 2147483647 h 946"/>
                <a:gd name="T24" fmla="*/ 2147483647 w 1061"/>
                <a:gd name="T25" fmla="*/ 2147483647 h 946"/>
                <a:gd name="T26" fmla="*/ 2147483647 w 1061"/>
                <a:gd name="T27" fmla="*/ 2147483647 h 946"/>
                <a:gd name="T28" fmla="*/ 2147483647 w 1061"/>
                <a:gd name="T29" fmla="*/ 2147483647 h 946"/>
                <a:gd name="T30" fmla="*/ 2147483647 w 1061"/>
                <a:gd name="T31" fmla="*/ 2147483647 h 946"/>
                <a:gd name="T32" fmla="*/ 2147483647 w 1061"/>
                <a:gd name="T33" fmla="*/ 2147483647 h 946"/>
                <a:gd name="T34" fmla="*/ 2147483647 w 1061"/>
                <a:gd name="T35" fmla="*/ 2147483647 h 946"/>
                <a:gd name="T36" fmla="*/ 2147483647 w 1061"/>
                <a:gd name="T37" fmla="*/ 2147483647 h 946"/>
                <a:gd name="T38" fmla="*/ 2147483647 w 1061"/>
                <a:gd name="T39" fmla="*/ 2147483647 h 946"/>
                <a:gd name="T40" fmla="*/ 2147483647 w 1061"/>
                <a:gd name="T41" fmla="*/ 2147483647 h 946"/>
                <a:gd name="T42" fmla="*/ 2147483647 w 1061"/>
                <a:gd name="T43" fmla="*/ 2147483647 h 946"/>
                <a:gd name="T44" fmla="*/ 2147483647 w 1061"/>
                <a:gd name="T45" fmla="*/ 2147483647 h 946"/>
                <a:gd name="T46" fmla="*/ 2147483647 w 1061"/>
                <a:gd name="T47" fmla="*/ 2147483647 h 946"/>
                <a:gd name="T48" fmla="*/ 2147483647 w 1061"/>
                <a:gd name="T49" fmla="*/ 2147483647 h 946"/>
                <a:gd name="T50" fmla="*/ 2147483647 w 1061"/>
                <a:gd name="T51" fmla="*/ 0 h 94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61"/>
                <a:gd name="T79" fmla="*/ 0 h 946"/>
                <a:gd name="T80" fmla="*/ 1061 w 1061"/>
                <a:gd name="T81" fmla="*/ 946 h 94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61" h="946">
                  <a:moveTo>
                    <a:pt x="372" y="0"/>
                  </a:moveTo>
                  <a:lnTo>
                    <a:pt x="0" y="477"/>
                  </a:lnTo>
                  <a:lnTo>
                    <a:pt x="207" y="395"/>
                  </a:lnTo>
                  <a:lnTo>
                    <a:pt x="252" y="466"/>
                  </a:lnTo>
                  <a:lnTo>
                    <a:pt x="302" y="531"/>
                  </a:lnTo>
                  <a:lnTo>
                    <a:pt x="354" y="592"/>
                  </a:lnTo>
                  <a:lnTo>
                    <a:pt x="410" y="649"/>
                  </a:lnTo>
                  <a:lnTo>
                    <a:pt x="471" y="703"/>
                  </a:lnTo>
                  <a:lnTo>
                    <a:pt x="535" y="751"/>
                  </a:lnTo>
                  <a:lnTo>
                    <a:pt x="602" y="795"/>
                  </a:lnTo>
                  <a:lnTo>
                    <a:pt x="670" y="833"/>
                  </a:lnTo>
                  <a:lnTo>
                    <a:pt x="745" y="867"/>
                  </a:lnTo>
                  <a:lnTo>
                    <a:pt x="818" y="894"/>
                  </a:lnTo>
                  <a:lnTo>
                    <a:pt x="894" y="917"/>
                  </a:lnTo>
                  <a:lnTo>
                    <a:pt x="970" y="934"/>
                  </a:lnTo>
                  <a:lnTo>
                    <a:pt x="1048" y="945"/>
                  </a:lnTo>
                  <a:lnTo>
                    <a:pt x="896" y="669"/>
                  </a:lnTo>
                  <a:lnTo>
                    <a:pt x="1060" y="347"/>
                  </a:lnTo>
                  <a:lnTo>
                    <a:pt x="1004" y="334"/>
                  </a:lnTo>
                  <a:lnTo>
                    <a:pt x="951" y="315"/>
                  </a:lnTo>
                  <a:lnTo>
                    <a:pt x="898" y="290"/>
                  </a:lnTo>
                  <a:lnTo>
                    <a:pt x="850" y="260"/>
                  </a:lnTo>
                  <a:lnTo>
                    <a:pt x="802" y="223"/>
                  </a:lnTo>
                  <a:lnTo>
                    <a:pt x="761" y="184"/>
                  </a:lnTo>
                  <a:lnTo>
                    <a:pt x="938" y="113"/>
                  </a:lnTo>
                  <a:lnTo>
                    <a:pt x="372" y="0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>
                <a:defRPr/>
              </a:pPr>
              <a:endParaRPr lang="en-US" sz="1050" dirty="0">
                <a:solidFill>
                  <a:srgbClr val="FFFFFF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blackWhite">
            <a:xfrm>
              <a:off x="3134390" y="3065463"/>
              <a:ext cx="1531273" cy="1709737"/>
            </a:xfrm>
            <a:custGeom>
              <a:avLst/>
              <a:gdLst>
                <a:gd name="T0" fmla="*/ 2147483647 w 866"/>
                <a:gd name="T1" fmla="*/ 0 h 1055"/>
                <a:gd name="T2" fmla="*/ 0 w 866"/>
                <a:gd name="T3" fmla="*/ 2147483647 h 1055"/>
                <a:gd name="T4" fmla="*/ 2147483647 w 866"/>
                <a:gd name="T5" fmla="*/ 2147483647 h 1055"/>
                <a:gd name="T6" fmla="*/ 2147483647 w 866"/>
                <a:gd name="T7" fmla="*/ 2147483647 h 1055"/>
                <a:gd name="T8" fmla="*/ 2147483647 w 866"/>
                <a:gd name="T9" fmla="*/ 2147483647 h 1055"/>
                <a:gd name="T10" fmla="*/ 2147483647 w 866"/>
                <a:gd name="T11" fmla="*/ 2147483647 h 1055"/>
                <a:gd name="T12" fmla="*/ 2147483647 w 866"/>
                <a:gd name="T13" fmla="*/ 2147483647 h 1055"/>
                <a:gd name="T14" fmla="*/ 2147483647 w 866"/>
                <a:gd name="T15" fmla="*/ 2147483647 h 1055"/>
                <a:gd name="T16" fmla="*/ 2147483647 w 866"/>
                <a:gd name="T17" fmla="*/ 2147483647 h 1055"/>
                <a:gd name="T18" fmla="*/ 2147483647 w 866"/>
                <a:gd name="T19" fmla="*/ 2147483647 h 1055"/>
                <a:gd name="T20" fmla="*/ 2147483647 w 866"/>
                <a:gd name="T21" fmla="*/ 2147483647 h 1055"/>
                <a:gd name="T22" fmla="*/ 2147483647 w 866"/>
                <a:gd name="T23" fmla="*/ 2147483647 h 1055"/>
                <a:gd name="T24" fmla="*/ 2147483647 w 866"/>
                <a:gd name="T25" fmla="*/ 2147483647 h 1055"/>
                <a:gd name="T26" fmla="*/ 2147483647 w 866"/>
                <a:gd name="T27" fmla="*/ 2147483647 h 1055"/>
                <a:gd name="T28" fmla="*/ 2147483647 w 866"/>
                <a:gd name="T29" fmla="*/ 2147483647 h 1055"/>
                <a:gd name="T30" fmla="*/ 2147483647 w 866"/>
                <a:gd name="T31" fmla="*/ 2147483647 h 1055"/>
                <a:gd name="T32" fmla="*/ 2147483647 w 866"/>
                <a:gd name="T33" fmla="*/ 2147483647 h 1055"/>
                <a:gd name="T34" fmla="*/ 2147483647 w 866"/>
                <a:gd name="T35" fmla="*/ 2147483647 h 1055"/>
                <a:gd name="T36" fmla="*/ 2147483647 w 866"/>
                <a:gd name="T37" fmla="*/ 2147483647 h 1055"/>
                <a:gd name="T38" fmla="*/ 2147483647 w 866"/>
                <a:gd name="T39" fmla="*/ 2147483647 h 1055"/>
                <a:gd name="T40" fmla="*/ 2147483647 w 866"/>
                <a:gd name="T41" fmla="*/ 2147483647 h 1055"/>
                <a:gd name="T42" fmla="*/ 2147483647 w 866"/>
                <a:gd name="T43" fmla="*/ 2147483647 h 1055"/>
                <a:gd name="T44" fmla="*/ 2147483647 w 866"/>
                <a:gd name="T45" fmla="*/ 2147483647 h 1055"/>
                <a:gd name="T46" fmla="*/ 2147483647 w 866"/>
                <a:gd name="T47" fmla="*/ 2147483647 h 1055"/>
                <a:gd name="T48" fmla="*/ 2147483647 w 866"/>
                <a:gd name="T49" fmla="*/ 2147483647 h 1055"/>
                <a:gd name="T50" fmla="*/ 2147483647 w 866"/>
                <a:gd name="T51" fmla="*/ 0 h 105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866"/>
                <a:gd name="T79" fmla="*/ 0 h 1055"/>
                <a:gd name="T80" fmla="*/ 866 w 866"/>
                <a:gd name="T81" fmla="*/ 1055 h 105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866" h="1055">
                  <a:moveTo>
                    <a:pt x="571" y="0"/>
                  </a:moveTo>
                  <a:lnTo>
                    <a:pt x="0" y="1"/>
                  </a:lnTo>
                  <a:lnTo>
                    <a:pt x="178" y="111"/>
                  </a:lnTo>
                  <a:lnTo>
                    <a:pt x="153" y="187"/>
                  </a:lnTo>
                  <a:lnTo>
                    <a:pt x="130" y="264"/>
                  </a:lnTo>
                  <a:lnTo>
                    <a:pt x="113" y="343"/>
                  </a:lnTo>
                  <a:lnTo>
                    <a:pt x="100" y="423"/>
                  </a:lnTo>
                  <a:lnTo>
                    <a:pt x="94" y="504"/>
                  </a:lnTo>
                  <a:lnTo>
                    <a:pt x="93" y="583"/>
                  </a:lnTo>
                  <a:lnTo>
                    <a:pt x="95" y="664"/>
                  </a:lnTo>
                  <a:lnTo>
                    <a:pt x="104" y="744"/>
                  </a:lnTo>
                  <a:lnTo>
                    <a:pt x="118" y="824"/>
                  </a:lnTo>
                  <a:lnTo>
                    <a:pt x="136" y="903"/>
                  </a:lnTo>
                  <a:lnTo>
                    <a:pt x="159" y="979"/>
                  </a:lnTo>
                  <a:lnTo>
                    <a:pt x="189" y="1054"/>
                  </a:lnTo>
                  <a:lnTo>
                    <a:pt x="412" y="766"/>
                  </a:lnTo>
                  <a:lnTo>
                    <a:pt x="702" y="816"/>
                  </a:lnTo>
                  <a:lnTo>
                    <a:pt x="681" y="760"/>
                  </a:lnTo>
                  <a:lnTo>
                    <a:pt x="666" y="705"/>
                  </a:lnTo>
                  <a:lnTo>
                    <a:pt x="658" y="647"/>
                  </a:lnTo>
                  <a:lnTo>
                    <a:pt x="652" y="588"/>
                  </a:lnTo>
                  <a:lnTo>
                    <a:pt x="652" y="529"/>
                  </a:lnTo>
                  <a:lnTo>
                    <a:pt x="660" y="470"/>
                  </a:lnTo>
                  <a:lnTo>
                    <a:pt x="672" y="413"/>
                  </a:lnTo>
                  <a:lnTo>
                    <a:pt x="865" y="531"/>
                  </a:lnTo>
                  <a:lnTo>
                    <a:pt x="571" y="0"/>
                  </a:lnTo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12700" cap="rnd">
              <a:solidFill>
                <a:schemeClr val="bg1"/>
              </a:solidFill>
              <a:round/>
              <a:headEnd/>
              <a:tailEnd/>
            </a:ln>
          </p:spPr>
          <p:txBody>
            <a:bodyPr lIns="36000" tIns="36000" rIns="36000" bIns="36000"/>
            <a:lstStyle/>
            <a:p>
              <a:pPr defTabSz="685800">
                <a:defRPr/>
              </a:pPr>
              <a:endParaRPr lang="en-US" sz="1050" dirty="0">
                <a:solidFill>
                  <a:srgbClr val="FFFFFF"/>
                </a:solidFill>
              </a:endParaRPr>
            </a:p>
          </p:txBody>
        </p:sp>
        <p:sp>
          <p:nvSpPr>
            <p:cNvPr id="41" name="Rectangle 40"/>
            <p:cNvSpPr>
              <a:spLocks noChangeArrowheads="1"/>
            </p:cNvSpPr>
            <p:nvPr/>
          </p:nvSpPr>
          <p:spPr bwMode="blackWhite">
            <a:xfrm>
              <a:off x="2888139" y="2538470"/>
              <a:ext cx="1434153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 dirty="0">
                  <a:solidFill>
                    <a:srgbClr val="FFFFFF"/>
                  </a:solidFill>
                </a:rPr>
                <a:t>Text. White. 14PT</a:t>
              </a: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blackWhite">
            <a:xfrm>
              <a:off x="5880532" y="2805170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3" name="Rectangle 42"/>
            <p:cNvSpPr>
              <a:spLocks noChangeArrowheads="1"/>
            </p:cNvSpPr>
            <p:nvPr/>
          </p:nvSpPr>
          <p:spPr bwMode="blackWhite">
            <a:xfrm>
              <a:off x="6359957" y="4146608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 dirty="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4" name="Rectangle 43"/>
            <p:cNvSpPr>
              <a:spLocks noChangeArrowheads="1"/>
            </p:cNvSpPr>
            <p:nvPr/>
          </p:nvSpPr>
          <p:spPr bwMode="blackWhite">
            <a:xfrm>
              <a:off x="5491594" y="5259445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5" name="Rectangle 44"/>
            <p:cNvSpPr>
              <a:spLocks noChangeArrowheads="1"/>
            </p:cNvSpPr>
            <p:nvPr/>
          </p:nvSpPr>
          <p:spPr bwMode="blackWhite">
            <a:xfrm>
              <a:off x="4156507" y="4962584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46" name="Rectangle 45"/>
            <p:cNvSpPr>
              <a:spLocks noChangeArrowheads="1"/>
            </p:cNvSpPr>
            <p:nvPr/>
          </p:nvSpPr>
          <p:spPr bwMode="blackWhite">
            <a:xfrm>
              <a:off x="3617419" y="3692583"/>
              <a:ext cx="348387" cy="204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algn="ctr" defTabSz="590550">
                <a:lnSpc>
                  <a:spcPct val="95000"/>
                </a:lnSpc>
                <a:spcBef>
                  <a:spcPct val="80000"/>
                </a:spcBef>
                <a:buClr>
                  <a:srgbClr val="3E3838"/>
                </a:buClr>
                <a:buFont typeface="Wingdings 2" pitchFamily="18" charset="2"/>
                <a:buNone/>
              </a:pPr>
              <a:r>
                <a:rPr lang="en-US" sz="1050" dirty="0">
                  <a:solidFill>
                    <a:srgbClr val="FFFFFF"/>
                  </a:solidFill>
                </a:rPr>
                <a:t>Text</a:t>
              </a:r>
            </a:p>
          </p:txBody>
        </p:sp>
      </p:grpSp>
      <p:sp>
        <p:nvSpPr>
          <p:cNvPr id="47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8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9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3837590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Slide designed to be used when you only have a small intro paragraph and bullet points. 18PT</a:t>
            </a:r>
          </a:p>
        </p:txBody>
      </p:sp>
      <p:sp>
        <p:nvSpPr>
          <p:cNvPr id="5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3837590" cy="2735192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90863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0720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. HR Slide - Process Closed Loop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2367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PROCESS CLOSED LOOP WITH LARGE TEXT</a:t>
            </a:r>
          </a:p>
        </p:txBody>
      </p:sp>
      <p:sp>
        <p:nvSpPr>
          <p:cNvPr id="47" name="Arc 3"/>
          <p:cNvSpPr>
            <a:spLocks/>
          </p:cNvSpPr>
          <p:nvPr userDrawn="1"/>
        </p:nvSpPr>
        <p:spPr bwMode="auto">
          <a:xfrm>
            <a:off x="6416831" y="1443384"/>
            <a:ext cx="1532334" cy="1351359"/>
          </a:xfrm>
          <a:custGeom>
            <a:avLst/>
            <a:gdLst>
              <a:gd name="T0" fmla="*/ 0 w 19173"/>
              <a:gd name="T1" fmla="*/ 0 h 21600"/>
              <a:gd name="T2" fmla="*/ 2147483647 w 19173"/>
              <a:gd name="T3" fmla="*/ 2147483647 h 21600"/>
              <a:gd name="T4" fmla="*/ 0 w 19173"/>
              <a:gd name="T5" fmla="*/ 2147483647 h 21600"/>
              <a:gd name="T6" fmla="*/ 0 60000 65536"/>
              <a:gd name="T7" fmla="*/ 0 60000 65536"/>
              <a:gd name="T8" fmla="*/ 0 60000 65536"/>
              <a:gd name="T9" fmla="*/ 0 w 19173"/>
              <a:gd name="T10" fmla="*/ 0 h 21600"/>
              <a:gd name="T11" fmla="*/ 19173 w 19173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9173" h="21600" fill="none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</a:path>
              <a:path w="19173" h="21600" stroke="0" extrusionOk="0">
                <a:moveTo>
                  <a:pt x="-1" y="0"/>
                </a:moveTo>
                <a:cubicBezTo>
                  <a:pt x="8064" y="0"/>
                  <a:pt x="15457" y="4492"/>
                  <a:pt x="19172" y="11651"/>
                </a:cubicBezTo>
                <a:lnTo>
                  <a:pt x="0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48" name="Arc 4"/>
          <p:cNvSpPr>
            <a:spLocks/>
          </p:cNvSpPr>
          <p:nvPr userDrawn="1"/>
        </p:nvSpPr>
        <p:spPr bwMode="auto">
          <a:xfrm flipV="1">
            <a:off x="6416832" y="2852969"/>
            <a:ext cx="1726406" cy="727472"/>
          </a:xfrm>
          <a:custGeom>
            <a:avLst/>
            <a:gdLst>
              <a:gd name="T0" fmla="*/ 2147483647 w 21600"/>
              <a:gd name="T1" fmla="*/ 0 h 11619"/>
              <a:gd name="T2" fmla="*/ 2147483647 w 21600"/>
              <a:gd name="T3" fmla="*/ 2147483647 h 11619"/>
              <a:gd name="T4" fmla="*/ 0 w 21600"/>
              <a:gd name="T5" fmla="*/ 2147483647 h 11619"/>
              <a:gd name="T6" fmla="*/ 0 60000 65536"/>
              <a:gd name="T7" fmla="*/ 0 60000 65536"/>
              <a:gd name="T8" fmla="*/ 0 60000 65536"/>
              <a:gd name="T9" fmla="*/ 0 w 21600"/>
              <a:gd name="T10" fmla="*/ 0 h 11619"/>
              <a:gd name="T11" fmla="*/ 21600 w 21600"/>
              <a:gd name="T12" fmla="*/ 11619 h 1161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600" h="11619" fill="none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</a:path>
              <a:path w="21600" h="11619" stroke="0" extrusionOk="0">
                <a:moveTo>
                  <a:pt x="18208" y="0"/>
                </a:moveTo>
                <a:cubicBezTo>
                  <a:pt x="20423" y="3470"/>
                  <a:pt x="21600" y="7501"/>
                  <a:pt x="21600" y="11619"/>
                </a:cubicBezTo>
                <a:lnTo>
                  <a:pt x="0" y="11619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49" name="Arc 5"/>
          <p:cNvSpPr>
            <a:spLocks/>
          </p:cNvSpPr>
          <p:nvPr userDrawn="1"/>
        </p:nvSpPr>
        <p:spPr bwMode="auto">
          <a:xfrm rot="183362" flipV="1">
            <a:off x="6189422" y="2913806"/>
            <a:ext cx="1388269" cy="1351360"/>
          </a:xfrm>
          <a:custGeom>
            <a:avLst/>
            <a:gdLst>
              <a:gd name="T0" fmla="*/ 0 w 17368"/>
              <a:gd name="T1" fmla="*/ 2147483647 h 21600"/>
              <a:gd name="T2" fmla="*/ 2147483647 w 17368"/>
              <a:gd name="T3" fmla="*/ 2147483647 h 21600"/>
              <a:gd name="T4" fmla="*/ 2147483647 w 17368"/>
              <a:gd name="T5" fmla="*/ 2147483647 h 21600"/>
              <a:gd name="T6" fmla="*/ 0 60000 65536"/>
              <a:gd name="T7" fmla="*/ 0 60000 65536"/>
              <a:gd name="T8" fmla="*/ 0 60000 65536"/>
              <a:gd name="T9" fmla="*/ 0 w 17368"/>
              <a:gd name="T10" fmla="*/ 0 h 21600"/>
              <a:gd name="T11" fmla="*/ 17368 w 17368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7368" h="21600" fill="none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</a:path>
              <a:path w="17368" h="21600" stroke="0" extrusionOk="0">
                <a:moveTo>
                  <a:pt x="0" y="189"/>
                </a:moveTo>
                <a:cubicBezTo>
                  <a:pt x="945" y="63"/>
                  <a:pt x="1898" y="-1"/>
                  <a:pt x="2852" y="0"/>
                </a:cubicBezTo>
                <a:cubicBezTo>
                  <a:pt x="8218" y="0"/>
                  <a:pt x="13393" y="1998"/>
                  <a:pt x="17368" y="5604"/>
                </a:cubicBezTo>
                <a:lnTo>
                  <a:pt x="2852" y="21600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rot="10800000"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54" name="Arc 6"/>
          <p:cNvSpPr>
            <a:spLocks/>
          </p:cNvSpPr>
          <p:nvPr userDrawn="1"/>
        </p:nvSpPr>
        <p:spPr bwMode="auto">
          <a:xfrm flipH="1" flipV="1">
            <a:off x="4734478" y="2794744"/>
            <a:ext cx="1683544" cy="1194197"/>
          </a:xfrm>
          <a:custGeom>
            <a:avLst/>
            <a:gdLst>
              <a:gd name="T0" fmla="*/ 2147483647 w 21027"/>
              <a:gd name="T1" fmla="*/ 0 h 19082"/>
              <a:gd name="T2" fmla="*/ 2147483647 w 21027"/>
              <a:gd name="T3" fmla="*/ 2147483647 h 19082"/>
              <a:gd name="T4" fmla="*/ 0 w 21027"/>
              <a:gd name="T5" fmla="*/ 2147483647 h 19082"/>
              <a:gd name="T6" fmla="*/ 0 60000 65536"/>
              <a:gd name="T7" fmla="*/ 0 60000 65536"/>
              <a:gd name="T8" fmla="*/ 0 60000 65536"/>
              <a:gd name="T9" fmla="*/ 0 w 21027"/>
              <a:gd name="T10" fmla="*/ 0 h 19082"/>
              <a:gd name="T11" fmla="*/ 21027 w 21027"/>
              <a:gd name="T12" fmla="*/ 19082 h 1908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27" h="19082" fill="none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</a:path>
              <a:path w="21027" h="19082" stroke="0" extrusionOk="0">
                <a:moveTo>
                  <a:pt x="10121" y="0"/>
                </a:moveTo>
                <a:cubicBezTo>
                  <a:pt x="15625" y="2919"/>
                  <a:pt x="19601" y="8073"/>
                  <a:pt x="21026" y="14139"/>
                </a:cubicBezTo>
                <a:lnTo>
                  <a:pt x="0" y="19082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</p:spPr>
        <p:txBody>
          <a:bodyPr rot="10800000"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55" name="Arc 7"/>
          <p:cNvSpPr>
            <a:spLocks/>
          </p:cNvSpPr>
          <p:nvPr userDrawn="1"/>
        </p:nvSpPr>
        <p:spPr bwMode="auto">
          <a:xfrm flipH="1">
            <a:off x="4709475" y="1550541"/>
            <a:ext cx="1708547" cy="1244203"/>
          </a:xfrm>
          <a:custGeom>
            <a:avLst/>
            <a:gdLst>
              <a:gd name="T0" fmla="*/ 2147483647 w 21347"/>
              <a:gd name="T1" fmla="*/ 0 h 19905"/>
              <a:gd name="T2" fmla="*/ 2147483647 w 21347"/>
              <a:gd name="T3" fmla="*/ 2147483647 h 19905"/>
              <a:gd name="T4" fmla="*/ 0 w 21347"/>
              <a:gd name="T5" fmla="*/ 2147483647 h 19905"/>
              <a:gd name="T6" fmla="*/ 0 60000 65536"/>
              <a:gd name="T7" fmla="*/ 0 60000 65536"/>
              <a:gd name="T8" fmla="*/ 0 60000 65536"/>
              <a:gd name="T9" fmla="*/ 0 w 21347"/>
              <a:gd name="T10" fmla="*/ 0 h 19905"/>
              <a:gd name="T11" fmla="*/ 21347 w 21347"/>
              <a:gd name="T12" fmla="*/ 19905 h 1990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347" h="19905" fill="none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</a:path>
              <a:path w="21347" h="19905" stroke="0" extrusionOk="0">
                <a:moveTo>
                  <a:pt x="8386" y="-1"/>
                </a:moveTo>
                <a:cubicBezTo>
                  <a:pt x="15295" y="2910"/>
                  <a:pt x="20201" y="9196"/>
                  <a:pt x="21346" y="16606"/>
                </a:cubicBezTo>
                <a:lnTo>
                  <a:pt x="0" y="19905"/>
                </a:lnTo>
                <a:close/>
              </a:path>
            </a:pathLst>
          </a:custGeom>
          <a:noFill/>
          <a:ln w="9525">
            <a:solidFill>
              <a:schemeClr val="tx2"/>
            </a:solidFill>
            <a:round/>
            <a:headEnd type="triangle" w="med" len="med"/>
            <a:tailEnd/>
          </a:ln>
        </p:spPr>
        <p:txBody>
          <a:bodyPr wrap="none" lIns="27000" tIns="27000" rIns="27000" bIns="27000" anchor="ctr"/>
          <a:lstStyle/>
          <a:p>
            <a:pPr algn="ctr" defTabSz="685800">
              <a:defRPr/>
            </a:pPr>
            <a:endParaRPr lang="en-US" sz="1050" dirty="0">
              <a:solidFill>
                <a:srgbClr val="FFFFFF"/>
              </a:solidFill>
            </a:endParaRPr>
          </a:p>
        </p:txBody>
      </p:sp>
      <p:sp>
        <p:nvSpPr>
          <p:cNvPr id="75" name="Oval 8"/>
          <p:cNvSpPr>
            <a:spLocks noChangeArrowheads="1"/>
          </p:cNvSpPr>
          <p:nvPr userDrawn="1"/>
        </p:nvSpPr>
        <p:spPr bwMode="auto">
          <a:xfrm>
            <a:off x="6786667" y="3476971"/>
            <a:ext cx="1307306" cy="928688"/>
          </a:xfrm>
          <a:prstGeom prst="ellipse">
            <a:avLst/>
          </a:prstGeom>
          <a:solidFill>
            <a:schemeClr val="accent2"/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6" name="Oval 9"/>
          <p:cNvSpPr>
            <a:spLocks noChangeArrowheads="1"/>
          </p:cNvSpPr>
          <p:nvPr userDrawn="1"/>
        </p:nvSpPr>
        <p:spPr bwMode="auto">
          <a:xfrm>
            <a:off x="4209413" y="2170856"/>
            <a:ext cx="1303734" cy="92630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7" name="Oval 10"/>
          <p:cNvSpPr>
            <a:spLocks noChangeArrowheads="1"/>
          </p:cNvSpPr>
          <p:nvPr userDrawn="1"/>
        </p:nvSpPr>
        <p:spPr bwMode="auto">
          <a:xfrm>
            <a:off x="4928550" y="3476971"/>
            <a:ext cx="1303734" cy="928688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8" name="Oval 11"/>
          <p:cNvSpPr>
            <a:spLocks noChangeArrowheads="1"/>
          </p:cNvSpPr>
          <p:nvPr userDrawn="1"/>
        </p:nvSpPr>
        <p:spPr bwMode="auto">
          <a:xfrm>
            <a:off x="7376475" y="2170856"/>
            <a:ext cx="1308497" cy="926306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79" name="Oval 12"/>
          <p:cNvSpPr>
            <a:spLocks noChangeArrowheads="1"/>
          </p:cNvSpPr>
          <p:nvPr userDrawn="1"/>
        </p:nvSpPr>
        <p:spPr bwMode="auto">
          <a:xfrm>
            <a:off x="5763178" y="1079053"/>
            <a:ext cx="1304925" cy="891778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12700" algn="ctr">
            <a:solidFill>
              <a:schemeClr val="bg1"/>
            </a:solidFill>
            <a:round/>
            <a:headEnd/>
            <a:tailEnd/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lIns="27000" tIns="27000" rIns="27000" bIns="27000" anchor="ctr"/>
          <a:lstStyle/>
          <a:p>
            <a:pPr algn="ctr" defTabSz="685800">
              <a:lnSpc>
                <a:spcPct val="95000"/>
              </a:lnSpc>
              <a:defRPr/>
            </a:pPr>
            <a:r>
              <a:rPr lang="en-US" sz="1050" dirty="0">
                <a:solidFill>
                  <a:srgbClr val="FFFFFF"/>
                </a:solidFill>
                <a:ea typeface="ＭＳ Ｐゴシック" pitchFamily="50" charset="-128"/>
              </a:rPr>
              <a:t>Text. White. 12PT</a:t>
            </a:r>
          </a:p>
        </p:txBody>
      </p:sp>
      <p:sp>
        <p:nvSpPr>
          <p:cNvPr id="8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2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5" name="Text Placeholder 2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1273534"/>
            <a:ext cx="3545494" cy="292944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165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Use this to create large bold text statements. Use ‘Function Colors’ and different weight of text to create interest. Lorem ipsum dolor sit </a:t>
            </a:r>
            <a:r>
              <a:rPr lang="en-US" dirty="0" err="1"/>
              <a:t>amet</a:t>
            </a:r>
            <a:r>
              <a:rPr lang="en-US" dirty="0"/>
              <a:t>, et, </a:t>
            </a:r>
            <a:r>
              <a:rPr lang="en-US" dirty="0" err="1"/>
              <a:t>eum</a:t>
            </a:r>
            <a:r>
              <a:rPr lang="en-US" dirty="0"/>
              <a:t> et </a:t>
            </a:r>
            <a:r>
              <a:rPr lang="en-US" dirty="0" err="1"/>
              <a:t>aeque</a:t>
            </a:r>
            <a:r>
              <a:rPr lang="en-US" dirty="0"/>
              <a:t> </a:t>
            </a:r>
            <a:r>
              <a:rPr lang="en-US" dirty="0" err="1"/>
              <a:t>quidam</a:t>
            </a:r>
            <a:r>
              <a:rPr lang="en-US" dirty="0"/>
              <a:t> </a:t>
            </a:r>
            <a:r>
              <a:rPr lang="en-US" dirty="0" err="1"/>
              <a:t>mollis</a:t>
            </a:r>
            <a:r>
              <a:rPr lang="en-US" dirty="0"/>
              <a:t>.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055050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. HR Slide - Direct Reports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6704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DIRECT REPORTS ORG CHART.</a:t>
            </a:r>
          </a:p>
        </p:txBody>
      </p:sp>
      <p:sp>
        <p:nvSpPr>
          <p:cNvPr id="125" name="Rectangle 124"/>
          <p:cNvSpPr/>
          <p:nvPr/>
        </p:nvSpPr>
        <p:spPr>
          <a:xfrm>
            <a:off x="4071361" y="1174289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cxnSp>
        <p:nvCxnSpPr>
          <p:cNvPr id="81" name="Straight Connector 80"/>
          <p:cNvCxnSpPr/>
          <p:nvPr/>
        </p:nvCxnSpPr>
        <p:spPr>
          <a:xfrm>
            <a:off x="816597" y="2574893"/>
            <a:ext cx="6368234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/>
          <p:nvPr/>
        </p:nvCxnSpPr>
        <p:spPr>
          <a:xfrm>
            <a:off x="7184832" y="2574893"/>
            <a:ext cx="1111007" cy="0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Straight Connector 120"/>
          <p:cNvCxnSpPr/>
          <p:nvPr/>
        </p:nvCxnSpPr>
        <p:spPr>
          <a:xfrm>
            <a:off x="7186535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8295839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>
            <a:off x="3976830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>
            <a:off x="2944277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/>
          <p:cNvCxnSpPr/>
          <p:nvPr/>
        </p:nvCxnSpPr>
        <p:spPr>
          <a:xfrm>
            <a:off x="1884983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816597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2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3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4139836" y="1255859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39836" y="2018525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44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139836" y="2142073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cxnSp>
        <p:nvCxnSpPr>
          <p:cNvPr id="145" name="Straight Connector 144"/>
          <p:cNvCxnSpPr/>
          <p:nvPr/>
        </p:nvCxnSpPr>
        <p:spPr>
          <a:xfrm>
            <a:off x="4543055" y="2314640"/>
            <a:ext cx="0" cy="257351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/>
          <p:nvPr/>
        </p:nvCxnSpPr>
        <p:spPr>
          <a:xfrm>
            <a:off x="5070593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/>
          <p:nvPr/>
        </p:nvCxnSpPr>
        <p:spPr>
          <a:xfrm>
            <a:off x="6115119" y="2574892"/>
            <a:ext cx="0" cy="179009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/>
          <p:cNvSpPr/>
          <p:nvPr userDrawn="1"/>
        </p:nvSpPr>
        <p:spPr>
          <a:xfrm>
            <a:off x="324629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52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393104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3104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54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93104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55" name="Rectangle 154"/>
          <p:cNvSpPr/>
          <p:nvPr userDrawn="1"/>
        </p:nvSpPr>
        <p:spPr>
          <a:xfrm>
            <a:off x="1394293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56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1462768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5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462768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58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462768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59" name="Rectangle 158"/>
          <p:cNvSpPr/>
          <p:nvPr userDrawn="1"/>
        </p:nvSpPr>
        <p:spPr>
          <a:xfrm>
            <a:off x="2454713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60" name="Picture Placeholder 4"/>
          <p:cNvSpPr>
            <a:spLocks noGrp="1"/>
          </p:cNvSpPr>
          <p:nvPr>
            <p:ph type="pic" sz="quarter" idx="19" hasCustomPrompt="1"/>
          </p:nvPr>
        </p:nvSpPr>
        <p:spPr>
          <a:xfrm>
            <a:off x="2523187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1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523187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523187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63" name="Rectangle 162"/>
          <p:cNvSpPr/>
          <p:nvPr userDrawn="1"/>
        </p:nvSpPr>
        <p:spPr>
          <a:xfrm>
            <a:off x="3484924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64" name="Picture Placeholder 4"/>
          <p:cNvSpPr>
            <a:spLocks noGrp="1"/>
          </p:cNvSpPr>
          <p:nvPr>
            <p:ph type="pic" sz="quarter" idx="22" hasCustomPrompt="1"/>
          </p:nvPr>
        </p:nvSpPr>
        <p:spPr>
          <a:xfrm>
            <a:off x="3553398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3553398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6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3553398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67" name="Rectangle 166"/>
          <p:cNvSpPr/>
          <p:nvPr userDrawn="1"/>
        </p:nvSpPr>
        <p:spPr>
          <a:xfrm>
            <a:off x="4575560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68" name="Picture Placeholder 4"/>
          <p:cNvSpPr>
            <a:spLocks noGrp="1"/>
          </p:cNvSpPr>
          <p:nvPr>
            <p:ph type="pic" sz="quarter" idx="25" hasCustomPrompt="1"/>
          </p:nvPr>
        </p:nvSpPr>
        <p:spPr>
          <a:xfrm>
            <a:off x="4644035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6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644035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7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4644035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71" name="Rectangle 170"/>
          <p:cNvSpPr/>
          <p:nvPr userDrawn="1"/>
        </p:nvSpPr>
        <p:spPr>
          <a:xfrm>
            <a:off x="5623897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72" name="Picture Placeholder 4"/>
          <p:cNvSpPr>
            <a:spLocks noGrp="1"/>
          </p:cNvSpPr>
          <p:nvPr>
            <p:ph type="pic" sz="quarter" idx="28" hasCustomPrompt="1"/>
          </p:nvPr>
        </p:nvSpPr>
        <p:spPr>
          <a:xfrm>
            <a:off x="5692372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7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5692372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74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5692372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75" name="Rectangle 174"/>
          <p:cNvSpPr/>
          <p:nvPr userDrawn="1"/>
        </p:nvSpPr>
        <p:spPr>
          <a:xfrm>
            <a:off x="6695627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76" name="Picture Placeholder 4"/>
          <p:cNvSpPr>
            <a:spLocks noGrp="1"/>
          </p:cNvSpPr>
          <p:nvPr>
            <p:ph type="pic" sz="quarter" idx="31" hasCustomPrompt="1"/>
          </p:nvPr>
        </p:nvSpPr>
        <p:spPr>
          <a:xfrm>
            <a:off x="6764102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7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6764102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78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6764102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79" name="Rectangle 178"/>
          <p:cNvSpPr/>
          <p:nvPr userDrawn="1"/>
        </p:nvSpPr>
        <p:spPr>
          <a:xfrm>
            <a:off x="7804386" y="2781684"/>
            <a:ext cx="986084" cy="1125455"/>
          </a:xfrm>
          <a:prstGeom prst="rect">
            <a:avLst/>
          </a:prstGeom>
          <a:gradFill>
            <a:gsLst>
              <a:gs pos="100000">
                <a:schemeClr val="bg1">
                  <a:lumMod val="85000"/>
                </a:schemeClr>
              </a:gs>
              <a:gs pos="50000">
                <a:schemeClr val="bg1">
                  <a:lumMod val="95000"/>
                </a:schemeClr>
              </a:gs>
              <a:gs pos="0">
                <a:schemeClr val="bg1"/>
              </a:gs>
            </a:gsLst>
            <a:lin ang="2700000" scaled="1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450">
              <a:solidFill>
                <a:srgbClr val="FFFFFF"/>
              </a:solidFill>
            </a:endParaRPr>
          </a:p>
        </p:txBody>
      </p:sp>
      <p:sp>
        <p:nvSpPr>
          <p:cNvPr id="180" name="Picture Placeholder 4"/>
          <p:cNvSpPr>
            <a:spLocks noGrp="1"/>
          </p:cNvSpPr>
          <p:nvPr>
            <p:ph type="pic" sz="quarter" idx="34" hasCustomPrompt="1"/>
          </p:nvPr>
        </p:nvSpPr>
        <p:spPr>
          <a:xfrm>
            <a:off x="7872860" y="2863254"/>
            <a:ext cx="846987" cy="733859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9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8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7872860" y="3625920"/>
            <a:ext cx="846987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/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NAME HERE</a:t>
            </a:r>
            <a:endParaRPr lang="en-US" dirty="0"/>
          </a:p>
        </p:txBody>
      </p:sp>
      <p:sp>
        <p:nvSpPr>
          <p:cNvPr id="182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7872860" y="3749468"/>
            <a:ext cx="846987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tx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5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22280477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. HR Slide - Company/Function Or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6642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COMPANY / FUNCTION ORG CHART.</a:t>
            </a:r>
          </a:p>
        </p:txBody>
      </p:sp>
      <p:cxnSp>
        <p:nvCxnSpPr>
          <p:cNvPr id="143" name="Straight Connector 142"/>
          <p:cNvCxnSpPr>
            <a:stCxn id="210" idx="2"/>
          </p:cNvCxnSpPr>
          <p:nvPr userDrawn="1"/>
        </p:nvCxnSpPr>
        <p:spPr>
          <a:xfrm>
            <a:off x="4025586" y="1583664"/>
            <a:ext cx="0" cy="426112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 userDrawn="1"/>
        </p:nvCxnSpPr>
        <p:spPr>
          <a:xfrm flipH="1">
            <a:off x="2234344" y="1897624"/>
            <a:ext cx="3641458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Rounded Rectangle 144"/>
          <p:cNvSpPr/>
          <p:nvPr userDrawn="1"/>
        </p:nvSpPr>
        <p:spPr>
          <a:xfrm>
            <a:off x="1584720" y="2030716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46" name="Straight Connector 145"/>
          <p:cNvCxnSpPr/>
          <p:nvPr userDrawn="1"/>
        </p:nvCxnSpPr>
        <p:spPr>
          <a:xfrm>
            <a:off x="2232792" y="1897624"/>
            <a:ext cx="0" cy="112151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Rounded Rectangle 146"/>
          <p:cNvSpPr/>
          <p:nvPr userDrawn="1"/>
        </p:nvSpPr>
        <p:spPr>
          <a:xfrm>
            <a:off x="1150669" y="2591589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48" name="Rounded Rectangle 147"/>
          <p:cNvSpPr/>
          <p:nvPr userDrawn="1"/>
        </p:nvSpPr>
        <p:spPr>
          <a:xfrm>
            <a:off x="1150669" y="3081484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49" name="Rounded Rectangle 148"/>
          <p:cNvSpPr/>
          <p:nvPr userDrawn="1"/>
        </p:nvSpPr>
        <p:spPr>
          <a:xfrm>
            <a:off x="1150669" y="3555016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50" name="Rounded Rectangle 149"/>
          <p:cNvSpPr/>
          <p:nvPr userDrawn="1"/>
        </p:nvSpPr>
        <p:spPr>
          <a:xfrm>
            <a:off x="1150669" y="4032388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51" name="Straight Connector 150"/>
          <p:cNvCxnSpPr/>
          <p:nvPr userDrawn="1"/>
        </p:nvCxnSpPr>
        <p:spPr>
          <a:xfrm>
            <a:off x="2638962" y="2461374"/>
            <a:ext cx="0" cy="176291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 userDrawn="1"/>
        </p:nvCxnSpPr>
        <p:spPr>
          <a:xfrm flipH="1">
            <a:off x="2498692" y="3262783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 userDrawn="1"/>
        </p:nvCxnSpPr>
        <p:spPr>
          <a:xfrm>
            <a:off x="2772852" y="2461374"/>
            <a:ext cx="0" cy="1762914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 userDrawn="1"/>
        </p:nvCxnSpPr>
        <p:spPr>
          <a:xfrm rot="-5400000">
            <a:off x="2847490" y="4152490"/>
            <a:ext cx="0" cy="15128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ounded Rectangle 157"/>
          <p:cNvSpPr/>
          <p:nvPr userDrawn="1"/>
        </p:nvSpPr>
        <p:spPr>
          <a:xfrm>
            <a:off x="3365000" y="2030716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59" name="Rounded Rectangle 158"/>
          <p:cNvSpPr/>
          <p:nvPr userDrawn="1"/>
        </p:nvSpPr>
        <p:spPr>
          <a:xfrm>
            <a:off x="2958745" y="2591589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60" name="Rounded Rectangle 159"/>
          <p:cNvSpPr/>
          <p:nvPr userDrawn="1"/>
        </p:nvSpPr>
        <p:spPr>
          <a:xfrm>
            <a:off x="2958745" y="3081484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61" name="Rounded Rectangle 160"/>
          <p:cNvSpPr/>
          <p:nvPr userDrawn="1"/>
        </p:nvSpPr>
        <p:spPr>
          <a:xfrm>
            <a:off x="2958745" y="3555016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62" name="Rounded Rectangle 161"/>
          <p:cNvSpPr/>
          <p:nvPr userDrawn="1"/>
        </p:nvSpPr>
        <p:spPr>
          <a:xfrm>
            <a:off x="2958745" y="4032388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63" name="Straight Connector 162"/>
          <p:cNvCxnSpPr/>
          <p:nvPr userDrawn="1"/>
        </p:nvCxnSpPr>
        <p:spPr>
          <a:xfrm>
            <a:off x="4447038" y="2461374"/>
            <a:ext cx="0" cy="176291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 userDrawn="1"/>
        </p:nvCxnSpPr>
        <p:spPr>
          <a:xfrm flipH="1">
            <a:off x="4313179" y="2778916"/>
            <a:ext cx="13385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ounded Rectangle 173"/>
          <p:cNvSpPr/>
          <p:nvPr userDrawn="1"/>
        </p:nvSpPr>
        <p:spPr>
          <a:xfrm>
            <a:off x="5136937" y="2042748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75" name="Rounded Rectangle 174"/>
          <p:cNvSpPr/>
          <p:nvPr userDrawn="1"/>
        </p:nvSpPr>
        <p:spPr>
          <a:xfrm>
            <a:off x="4730682" y="2591589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76" name="Rounded Rectangle 175"/>
          <p:cNvSpPr/>
          <p:nvPr userDrawn="1"/>
        </p:nvSpPr>
        <p:spPr>
          <a:xfrm>
            <a:off x="4730682" y="3081484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77" name="Straight Connector 176"/>
          <p:cNvCxnSpPr/>
          <p:nvPr userDrawn="1"/>
        </p:nvCxnSpPr>
        <p:spPr>
          <a:xfrm>
            <a:off x="6218975" y="2461374"/>
            <a:ext cx="0" cy="80141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0" name="Rounded Rectangle 179"/>
          <p:cNvSpPr/>
          <p:nvPr userDrawn="1"/>
        </p:nvSpPr>
        <p:spPr>
          <a:xfrm>
            <a:off x="6763531" y="2584169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81" name="Rounded Rectangle 180"/>
          <p:cNvSpPr/>
          <p:nvPr userDrawn="1"/>
        </p:nvSpPr>
        <p:spPr>
          <a:xfrm>
            <a:off x="6357276" y="3133010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82" name="Rounded Rectangle 181"/>
          <p:cNvSpPr/>
          <p:nvPr userDrawn="1"/>
        </p:nvSpPr>
        <p:spPr>
          <a:xfrm>
            <a:off x="6357276" y="3622905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183" name="Rounded Rectangle 182"/>
          <p:cNvSpPr/>
          <p:nvPr userDrawn="1"/>
        </p:nvSpPr>
        <p:spPr>
          <a:xfrm>
            <a:off x="6357276" y="4096438"/>
            <a:ext cx="1321173" cy="379241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cxnSp>
        <p:nvCxnSpPr>
          <p:cNvPr id="185" name="Straight Connector 184"/>
          <p:cNvCxnSpPr/>
          <p:nvPr userDrawn="1"/>
        </p:nvCxnSpPr>
        <p:spPr>
          <a:xfrm>
            <a:off x="7845569" y="3002795"/>
            <a:ext cx="0" cy="1286894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/>
          <p:cNvCxnSpPr/>
          <p:nvPr userDrawn="1"/>
        </p:nvCxnSpPr>
        <p:spPr>
          <a:xfrm flipH="1">
            <a:off x="7718305" y="3320337"/>
            <a:ext cx="127265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198"/>
          <p:cNvCxnSpPr/>
          <p:nvPr userDrawn="1"/>
        </p:nvCxnSpPr>
        <p:spPr>
          <a:xfrm>
            <a:off x="5875802" y="1897624"/>
            <a:ext cx="0" cy="133093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/>
          <p:nvPr userDrawn="1"/>
        </p:nvCxnSpPr>
        <p:spPr>
          <a:xfrm flipH="1">
            <a:off x="4741677" y="1389935"/>
            <a:ext cx="2659121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/>
          <p:nvPr userDrawn="1"/>
        </p:nvCxnSpPr>
        <p:spPr>
          <a:xfrm flipV="1">
            <a:off x="7400798" y="1389404"/>
            <a:ext cx="0" cy="1170188"/>
          </a:xfrm>
          <a:prstGeom prst="line">
            <a:avLst/>
          </a:prstGeom>
          <a:ln w="6350">
            <a:solidFill>
              <a:schemeClr val="tx2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/>
          <p:nvPr userDrawn="1"/>
        </p:nvCxnSpPr>
        <p:spPr>
          <a:xfrm flipH="1">
            <a:off x="6078706" y="2794091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Rounded Rectangle 209"/>
          <p:cNvSpPr/>
          <p:nvPr userDrawn="1"/>
        </p:nvSpPr>
        <p:spPr>
          <a:xfrm>
            <a:off x="3365000" y="1204423"/>
            <a:ext cx="1321173" cy="379241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675" dirty="0">
              <a:solidFill>
                <a:srgbClr val="FFFFFF"/>
              </a:solidFill>
            </a:endParaRPr>
          </a:p>
        </p:txBody>
      </p:sp>
      <p:sp>
        <p:nvSpPr>
          <p:cNvPr id="20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457576" y="1303968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09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457576" y="1427516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453487" y="213082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453487" y="225437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13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32281" y="213082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1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232281" y="225437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1679456" y="213082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16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1679456" y="225437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cxnSp>
        <p:nvCxnSpPr>
          <p:cNvPr id="217" name="Straight Connector 216"/>
          <p:cNvCxnSpPr/>
          <p:nvPr userDrawn="1"/>
        </p:nvCxnSpPr>
        <p:spPr>
          <a:xfrm flipH="1">
            <a:off x="6078706" y="3263198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1246069" y="268384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19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1246069" y="280739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cxnSp>
        <p:nvCxnSpPr>
          <p:cNvPr id="220" name="Straight Connector 219"/>
          <p:cNvCxnSpPr/>
          <p:nvPr userDrawn="1"/>
        </p:nvCxnSpPr>
        <p:spPr>
          <a:xfrm flipH="1">
            <a:off x="2498692" y="2800821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Straight Connector 220"/>
          <p:cNvCxnSpPr/>
          <p:nvPr userDrawn="1"/>
        </p:nvCxnSpPr>
        <p:spPr>
          <a:xfrm flipH="1">
            <a:off x="2498692" y="3755702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Straight Connector 221"/>
          <p:cNvCxnSpPr/>
          <p:nvPr userDrawn="1"/>
        </p:nvCxnSpPr>
        <p:spPr>
          <a:xfrm flipH="1">
            <a:off x="2498692" y="4224809"/>
            <a:ext cx="140270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246069" y="318095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24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1246069" y="330450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25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1246069" y="3652441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26" name="Text Placeholder 7"/>
          <p:cNvSpPr>
            <a:spLocks noGrp="1"/>
          </p:cNvSpPr>
          <p:nvPr>
            <p:ph type="body" sz="quarter" idx="24" hasCustomPrompt="1"/>
          </p:nvPr>
        </p:nvSpPr>
        <p:spPr>
          <a:xfrm>
            <a:off x="1246069" y="3775989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27" name="Text Placeholder 7"/>
          <p:cNvSpPr>
            <a:spLocks noGrp="1"/>
          </p:cNvSpPr>
          <p:nvPr>
            <p:ph type="body" sz="quarter" idx="25" hasCustomPrompt="1"/>
          </p:nvPr>
        </p:nvSpPr>
        <p:spPr>
          <a:xfrm>
            <a:off x="1246069" y="413107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2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1246069" y="425462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30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3047974" y="268384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31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3047974" y="280739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32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3047974" y="318095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3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3047974" y="330450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34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3047974" y="3652441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35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3047974" y="3775989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3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3047974" y="4131072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3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3047974" y="4254621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4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6450080" y="3234738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46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6450080" y="3358287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4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6450080" y="3706226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4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6450080" y="3829774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4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6450080" y="4184857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50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6450080" y="4308405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51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4827469" y="268384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52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4827469" y="280739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53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4827469" y="318095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54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4827469" y="330450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sp>
        <p:nvSpPr>
          <p:cNvPr id="25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6871421" y="2683844"/>
            <a:ext cx="1135856" cy="10951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600" baseline="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NAME HERE. U/C WHITE. 8PT</a:t>
            </a:r>
          </a:p>
        </p:txBody>
      </p:sp>
      <p:sp>
        <p:nvSpPr>
          <p:cNvPr id="25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6871421" y="2807392"/>
            <a:ext cx="1135856" cy="61459"/>
          </a:xfrm>
          <a:prstGeom prst="rect">
            <a:avLst/>
          </a:prstGeom>
        </p:spPr>
        <p:txBody>
          <a:bodyPr lIns="0" tIns="0" rIns="0" bIns="0"/>
          <a:lstStyle>
            <a:lvl1pPr marL="0" indent="0" algn="ctr">
              <a:buNone/>
              <a:defRPr sz="450">
                <a:solidFill>
                  <a:schemeClr val="bg1"/>
                </a:solidFill>
              </a:defRPr>
            </a:lvl1pPr>
            <a:lvl2pPr marL="342900" indent="0">
              <a:buNone/>
              <a:defRPr sz="750"/>
            </a:lvl2pPr>
            <a:lvl3pPr marL="685800" indent="0">
              <a:buNone/>
              <a:defRPr sz="75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 dirty="0"/>
              <a:t>Job Title. White. 6PT</a:t>
            </a:r>
          </a:p>
        </p:txBody>
      </p:sp>
      <p:cxnSp>
        <p:nvCxnSpPr>
          <p:cNvPr id="257" name="Straight Connector 256"/>
          <p:cNvCxnSpPr/>
          <p:nvPr userDrawn="1"/>
        </p:nvCxnSpPr>
        <p:spPr>
          <a:xfrm flipH="1">
            <a:off x="7718305" y="3828092"/>
            <a:ext cx="127265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/>
          <p:cNvCxnSpPr/>
          <p:nvPr userDrawn="1"/>
        </p:nvCxnSpPr>
        <p:spPr>
          <a:xfrm flipH="1">
            <a:off x="7718305" y="4289689"/>
            <a:ext cx="127265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/>
          <p:cNvCxnSpPr/>
          <p:nvPr userDrawn="1"/>
        </p:nvCxnSpPr>
        <p:spPr>
          <a:xfrm flipH="1">
            <a:off x="4313179" y="3283374"/>
            <a:ext cx="13385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/>
          <p:cNvCxnSpPr/>
          <p:nvPr userDrawn="1"/>
        </p:nvCxnSpPr>
        <p:spPr>
          <a:xfrm flipH="1">
            <a:off x="4313179" y="3768050"/>
            <a:ext cx="13385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/>
          <p:nvPr userDrawn="1"/>
        </p:nvCxnSpPr>
        <p:spPr>
          <a:xfrm flipH="1">
            <a:off x="4313179" y="4223052"/>
            <a:ext cx="133859" cy="0"/>
          </a:xfrm>
          <a:prstGeom prst="line">
            <a:avLst/>
          </a:prstGeom>
          <a:ln w="635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5558967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. HR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6332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BLANK SLIDE FOR BESPOKE USE.</a:t>
            </a:r>
          </a:p>
        </p:txBody>
      </p:sp>
      <p:sp>
        <p:nvSpPr>
          <p:cNvPr id="73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4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5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6666210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. HR Slide Blank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94141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CONFIDENTIAL SLIDE.</a:t>
            </a:r>
          </a:p>
        </p:txBody>
      </p:sp>
      <p:sp>
        <p:nvSpPr>
          <p:cNvPr id="5" name="Parallelogram 4"/>
          <p:cNvSpPr/>
          <p:nvPr userDrawn="1"/>
        </p:nvSpPr>
        <p:spPr>
          <a:xfrm rot="10800000" flipH="1">
            <a:off x="7014754" y="2626"/>
            <a:ext cx="1135775" cy="749127"/>
          </a:xfrm>
          <a:prstGeom prst="parallelogram">
            <a:avLst>
              <a:gd name="adj" fmla="val 100977"/>
            </a:avLst>
          </a:prstGeom>
          <a:solidFill>
            <a:schemeClr val="accent4"/>
          </a:solidFill>
          <a:ln>
            <a:noFill/>
          </a:ln>
          <a:effectLst>
            <a:outerShdw blurRad="381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 rot="2653766">
            <a:off x="7009863" y="240456"/>
            <a:ext cx="1160155" cy="26640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75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ONFIDENTIAL</a:t>
            </a:r>
          </a:p>
        </p:txBody>
      </p:sp>
      <p:sp>
        <p:nvSpPr>
          <p:cNvPr id="64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5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51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9293181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. HR Slide 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478668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EXECUTIVE SUMMARY SLIDE.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52429" y="1161616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| 01</a:t>
            </a:r>
          </a:p>
        </p:txBody>
      </p:sp>
      <p:sp>
        <p:nvSpPr>
          <p:cNvPr id="3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167970" y="1162663"/>
            <a:ext cx="5532375" cy="5794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 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</a:t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sp>
        <p:nvSpPr>
          <p:cNvPr id="38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52429" y="1847050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dirty="0"/>
              <a:t>| 02</a:t>
            </a:r>
          </a:p>
        </p:txBody>
      </p:sp>
      <p:sp>
        <p:nvSpPr>
          <p:cNvPr id="41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552428" y="2535694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lvl="0"/>
            <a:r>
              <a:rPr lang="en-US" dirty="0"/>
              <a:t>| 03</a:t>
            </a:r>
          </a:p>
        </p:txBody>
      </p:sp>
      <p:sp>
        <p:nvSpPr>
          <p:cNvPr id="44" name="Text Placeholder 9"/>
          <p:cNvSpPr>
            <a:spLocks noGrp="1"/>
          </p:cNvSpPr>
          <p:nvPr>
            <p:ph type="body" sz="quarter" idx="21" hasCustomPrompt="1"/>
          </p:nvPr>
        </p:nvSpPr>
        <p:spPr>
          <a:xfrm>
            <a:off x="552428" y="3224130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| 04</a:t>
            </a:r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552428" y="3888594"/>
            <a:ext cx="557624" cy="355241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| 05</a:t>
            </a:r>
          </a:p>
        </p:txBody>
      </p:sp>
      <p:sp>
        <p:nvSpPr>
          <p:cNvPr id="52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1167970" y="1847050"/>
            <a:ext cx="3963706" cy="5794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.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 Lea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</a:t>
            </a:r>
          </a:p>
        </p:txBody>
      </p:sp>
      <p:sp>
        <p:nvSpPr>
          <p:cNvPr id="53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1167970" y="2532212"/>
            <a:ext cx="5532375" cy="5794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prompta</a:t>
            </a:r>
            <a:r>
              <a:rPr lang="en-US" dirty="0"/>
              <a:t> </a:t>
            </a:r>
            <a:r>
              <a:rPr lang="en-US" dirty="0" err="1"/>
              <a:t>imperdiet</a:t>
            </a:r>
            <a:r>
              <a:rPr lang="en-US" dirty="0"/>
              <a:t> qui no</a:t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endParaRPr lang="en-US" dirty="0"/>
          </a:p>
        </p:txBody>
      </p:sp>
      <p:sp>
        <p:nvSpPr>
          <p:cNvPr id="5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1167970" y="3223155"/>
            <a:ext cx="5532375" cy="57942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 </a:t>
            </a:r>
            <a:r>
              <a:rPr lang="en-US" dirty="0" err="1"/>
              <a:t>prompta</a:t>
            </a:r>
            <a:r>
              <a:rPr lang="en-US" dirty="0"/>
              <a:t> qui no</a:t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endParaRPr lang="en-US" dirty="0"/>
          </a:p>
        </p:txBody>
      </p:sp>
      <p:sp>
        <p:nvSpPr>
          <p:cNvPr id="5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1167970" y="3890332"/>
            <a:ext cx="5532375" cy="57942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900" baseline="0"/>
            </a:lvl1pPr>
          </a:lstStyle>
          <a:p>
            <a:pPr lvl="0"/>
            <a:r>
              <a:rPr lang="en-US" dirty="0"/>
              <a:t>Executive Summary text 14PT</a:t>
            </a:r>
            <a:br>
              <a:rPr lang="en-US" dirty="0"/>
            </a:br>
            <a:r>
              <a:rPr lang="en-US" dirty="0"/>
              <a:t>•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 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offendit</a:t>
            </a:r>
            <a:r>
              <a:rPr lang="en-US" dirty="0"/>
              <a:t> </a:t>
            </a:r>
            <a:r>
              <a:rPr lang="en-US" dirty="0" err="1"/>
              <a:t>consetetur</a:t>
            </a:r>
            <a:r>
              <a:rPr lang="en-US" dirty="0"/>
              <a:t> </a:t>
            </a:r>
            <a:r>
              <a:rPr lang="en-US" dirty="0" err="1"/>
              <a:t>ius</a:t>
            </a:r>
            <a:r>
              <a:rPr lang="en-US" dirty="0"/>
              <a:t>. </a:t>
            </a:r>
            <a:r>
              <a:rPr lang="en-US" dirty="0" err="1"/>
              <a:t>Sed</a:t>
            </a:r>
            <a:r>
              <a:rPr lang="en-US" dirty="0"/>
              <a:t> ne alia dicit </a:t>
            </a:r>
            <a:r>
              <a:rPr lang="en-US" dirty="0" err="1"/>
              <a:t>albucius</a:t>
            </a:r>
            <a:r>
              <a:rPr lang="en-US" dirty="0"/>
              <a:t>, an nihil </a:t>
            </a:r>
            <a:r>
              <a:rPr lang="en-US" dirty="0" err="1"/>
              <a:t>ancillae</a:t>
            </a:r>
            <a:r>
              <a:rPr lang="en-US" dirty="0"/>
              <a:t> vis, </a:t>
            </a:r>
            <a:r>
              <a:rPr lang="en-US" dirty="0" err="1"/>
              <a:t>possim</a:t>
            </a:r>
            <a:r>
              <a:rPr lang="en-US" dirty="0"/>
              <a:t> </a:t>
            </a:r>
            <a:r>
              <a:rPr lang="en-US" dirty="0" err="1"/>
              <a:t>imperdie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• 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</a:t>
            </a:r>
          </a:p>
        </p:txBody>
      </p:sp>
      <p:sp>
        <p:nvSpPr>
          <p:cNvPr id="5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8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269914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2" y="120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6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206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24320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7632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. HR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79508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0087" y="1161616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543910" y="1152179"/>
            <a:ext cx="544862" cy="438150"/>
          </a:xfrm>
          <a:prstGeom prst="rect">
            <a:avLst/>
          </a:prstGeom>
          <a:solidFill>
            <a:schemeClr val="accent2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160087" y="1771651"/>
            <a:ext cx="4313905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543910" y="1762215"/>
            <a:ext cx="544862" cy="438150"/>
          </a:xfrm>
          <a:prstGeom prst="rect">
            <a:avLst/>
          </a:prstGeom>
          <a:solidFill>
            <a:schemeClr val="accent2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160087" y="2393345"/>
            <a:ext cx="360102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543910" y="2383909"/>
            <a:ext cx="544862" cy="438150"/>
          </a:xfrm>
          <a:prstGeom prst="rect">
            <a:avLst/>
          </a:prstGeom>
          <a:solidFill>
            <a:schemeClr val="accent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160087" y="3025968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br>
              <a:rPr lang="en-US" dirty="0"/>
            </a:b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543910" y="3016532"/>
            <a:ext cx="544862" cy="43815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160087" y="3655626"/>
            <a:ext cx="4397258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543910" y="3646190"/>
            <a:ext cx="544862" cy="43815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1430"/>
            <a:ext cx="4225801" cy="184579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r>
              <a:rPr lang="en-US" dirty="0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37716"/>
            <a:ext cx="316126" cy="184579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/>
              <a:t>Tuesday, 17 December 2019</a:t>
            </a:fld>
            <a:r>
              <a:rPr lang="en-GB" sz="600">
                <a:solidFill>
                  <a:srgbClr val="FFFFFF"/>
                </a:solidFill>
              </a:rPr>
              <a:t>  </a:t>
            </a:r>
            <a:r>
              <a:rPr lang="en-GB" sz="600" dirty="0">
                <a:solidFill>
                  <a:srgbClr val="FFFFFF"/>
                </a:solidFill>
              </a:rPr>
              <a:t>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0201828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523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HR Slide -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799"/>
            <a:ext cx="7474995" cy="539526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CONTENTS PAGE/SLIDE WITH NUMBERS.</a:t>
            </a:r>
          </a:p>
        </p:txBody>
      </p:sp>
      <p:graphicFrame>
        <p:nvGraphicFramePr>
          <p:cNvPr id="12" name="Table 11"/>
          <p:cNvGraphicFramePr>
            <a:graphicFrameLocks noGrp="1"/>
          </p:cNvGraphicFramePr>
          <p:nvPr userDrawn="1">
            <p:extLst/>
          </p:nvPr>
        </p:nvGraphicFramePr>
        <p:xfrm>
          <a:off x="543909" y="1164977"/>
          <a:ext cx="8079828" cy="318459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08660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32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17603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INTRODUCTION. 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19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FIRST TOPIC HER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  <a:endParaRPr lang="en-US" sz="900" baseline="0" dirty="0">
                        <a:solidFill>
                          <a:schemeClr val="accent2"/>
                        </a:solidFill>
                      </a:endParaRPr>
                    </a:p>
                    <a:p>
                      <a:pPr marL="314325" indent="0">
                        <a:tabLst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3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4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276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SECOND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TOPIC HER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7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7603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THIRD TOPIC HERE. 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0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7603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FOURTH TOPIC HERE. 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5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71910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FIFTH TOPIC HERE. 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  <a:p>
                      <a:pPr marL="314325" indent="0">
                        <a:tabLst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First Subject Heading Here. Grey. 10PT</a:t>
                      </a: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Second Subject Titl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  <a:p>
                      <a:pPr marL="314325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aseline="0" dirty="0">
                          <a:solidFill>
                            <a:schemeClr val="tx2"/>
                          </a:solidFill>
                        </a:rPr>
                        <a:t>Third Subject Heading Here. Grey. 10PT</a:t>
                      </a:r>
                      <a:endParaRPr lang="en-US" sz="800" dirty="0">
                        <a:solidFill>
                          <a:schemeClr val="tx2"/>
                        </a:solidFill>
                      </a:endParaRP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8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19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20</a:t>
                      </a:r>
                    </a:p>
                    <a:p>
                      <a:pPr algn="r"/>
                      <a:r>
                        <a:rPr lang="en-US" sz="800" dirty="0">
                          <a:solidFill>
                            <a:schemeClr val="tx2"/>
                          </a:solidFill>
                        </a:rPr>
                        <a:t>21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760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SIXTH TOPIC HERE.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22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7603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SEVENTH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TOPIC HER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UPPERCASE</a:t>
                      </a:r>
                      <a:r>
                        <a:rPr lang="en-US" sz="900" baseline="0" dirty="0">
                          <a:solidFill>
                            <a:schemeClr val="accent2"/>
                          </a:solidFill>
                        </a:rPr>
                        <a:t> ONLY. PURPLE. </a:t>
                      </a:r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12PT</a:t>
                      </a:r>
                    </a:p>
                  </a:txBody>
                  <a:tcPr marL="68580" marR="68580" marT="34290" marB="34290" anchor="ctr">
                    <a:lnR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accent2"/>
                          </a:solidFill>
                        </a:rPr>
                        <a:t>45</a:t>
                      </a:r>
                    </a:p>
                  </a:txBody>
                  <a:tcPr marL="68580" marR="68580" marT="34290" marB="34290" anchor="ctr">
                    <a:lnL w="317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79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0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1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360940783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47722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4531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1170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58616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96564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56009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515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_tradnl"/>
              <a:t>Haga clic para modificar los estilos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62903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358344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6167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HR Slide - Intro Para,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INTRO PARAGRAPH WITH BULLET POINTS AND PICTURE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4886294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4885340" cy="2446735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36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7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8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414348384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2" y="120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5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2" y="1206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11657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5576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. HR Slide - Icon/Symbol Bullets,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79508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ICON/SYMBOL BULLET POINTS WITH PICTURE.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3" y="1164432"/>
            <a:ext cx="3242072" cy="3308747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75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160087" y="1161616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24" hasCustomPrompt="1"/>
          </p:nvPr>
        </p:nvSpPr>
        <p:spPr>
          <a:xfrm>
            <a:off x="543910" y="1152179"/>
            <a:ext cx="544862" cy="438150"/>
          </a:xfrm>
          <a:prstGeom prst="rect">
            <a:avLst/>
          </a:prstGeom>
          <a:solidFill>
            <a:schemeClr val="accent2">
              <a:lumMod val="50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25" hasCustomPrompt="1"/>
          </p:nvPr>
        </p:nvSpPr>
        <p:spPr>
          <a:xfrm>
            <a:off x="1160087" y="1771651"/>
            <a:ext cx="4313905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55" name="Picture Placeholder 5"/>
          <p:cNvSpPr>
            <a:spLocks noGrp="1"/>
          </p:cNvSpPr>
          <p:nvPr>
            <p:ph type="pic" sz="quarter" idx="26" hasCustomPrompt="1"/>
          </p:nvPr>
        </p:nvSpPr>
        <p:spPr>
          <a:xfrm>
            <a:off x="543910" y="1762215"/>
            <a:ext cx="544862" cy="438150"/>
          </a:xfrm>
          <a:prstGeom prst="rect">
            <a:avLst/>
          </a:prstGeom>
          <a:solidFill>
            <a:schemeClr val="accent2">
              <a:lumMod val="75000"/>
            </a:schemeClr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2" name="Text Placeholder 9"/>
          <p:cNvSpPr>
            <a:spLocks noGrp="1"/>
          </p:cNvSpPr>
          <p:nvPr>
            <p:ph type="body" sz="quarter" idx="27" hasCustomPrompt="1"/>
          </p:nvPr>
        </p:nvSpPr>
        <p:spPr>
          <a:xfrm>
            <a:off x="1160087" y="2393345"/>
            <a:ext cx="360102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3" name="Picture Placeholder 5"/>
          <p:cNvSpPr>
            <a:spLocks noGrp="1"/>
          </p:cNvSpPr>
          <p:nvPr>
            <p:ph type="pic" sz="quarter" idx="28" hasCustomPrompt="1"/>
          </p:nvPr>
        </p:nvSpPr>
        <p:spPr>
          <a:xfrm>
            <a:off x="543910" y="2383909"/>
            <a:ext cx="544862" cy="438150"/>
          </a:xfrm>
          <a:prstGeom prst="rect">
            <a:avLst/>
          </a:prstGeom>
          <a:solidFill>
            <a:schemeClr val="accent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84" name="Text Placeholder 9"/>
          <p:cNvSpPr>
            <a:spLocks noGrp="1"/>
          </p:cNvSpPr>
          <p:nvPr>
            <p:ph type="body" sz="quarter" idx="29" hasCustomPrompt="1"/>
          </p:nvPr>
        </p:nvSpPr>
        <p:spPr>
          <a:xfrm>
            <a:off x="1160087" y="3025968"/>
            <a:ext cx="4120346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illud</a:t>
            </a:r>
            <a:r>
              <a:rPr lang="en-US" dirty="0"/>
              <a:t>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br>
              <a:rPr lang="en-US" dirty="0"/>
            </a:b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88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543910" y="3016532"/>
            <a:ext cx="544862" cy="438150"/>
          </a:xfrm>
          <a:prstGeom prst="rect">
            <a:avLst/>
          </a:prstGeom>
          <a:solidFill>
            <a:schemeClr val="tx1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3" name="Text Placeholder 9"/>
          <p:cNvSpPr>
            <a:spLocks noGrp="1"/>
          </p:cNvSpPr>
          <p:nvPr>
            <p:ph type="body" sz="quarter" idx="31" hasCustomPrompt="1"/>
          </p:nvPr>
        </p:nvSpPr>
        <p:spPr>
          <a:xfrm>
            <a:off x="1160087" y="3655626"/>
            <a:ext cx="4397258" cy="428714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="0" baseline="0"/>
            </a:lvl1pPr>
          </a:lstStyle>
          <a:p>
            <a:pPr lvl="0"/>
            <a:r>
              <a:rPr lang="en-US" dirty="0"/>
              <a:t>Bullet Point Text 12PT.</a:t>
            </a:r>
            <a:br>
              <a:rPr lang="en-US" dirty="0"/>
            </a:br>
            <a:r>
              <a:rPr lang="en-US" dirty="0"/>
              <a:t>Ad vim </a:t>
            </a:r>
            <a:r>
              <a:rPr lang="en-US" dirty="0" err="1"/>
              <a:t>noster</a:t>
            </a:r>
            <a:r>
              <a:rPr lang="en-US" dirty="0"/>
              <a:t> </a:t>
            </a:r>
            <a:r>
              <a:rPr lang="en-US" dirty="0" err="1"/>
              <a:t>audiam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cum </a:t>
            </a:r>
            <a:r>
              <a:rPr lang="en-US" dirty="0" err="1"/>
              <a:t>iusto</a:t>
            </a:r>
            <a:r>
              <a:rPr lang="en-US" dirty="0"/>
              <a:t> partem </a:t>
            </a:r>
            <a:r>
              <a:rPr lang="en-US" dirty="0" err="1"/>
              <a:t>similique</a:t>
            </a:r>
            <a:r>
              <a:rPr lang="en-US" dirty="0"/>
              <a:t>, </a:t>
            </a:r>
            <a:r>
              <a:rPr lang="en-US" dirty="0" err="1"/>
              <a:t>delicata</a:t>
            </a:r>
            <a:r>
              <a:rPr lang="en-US" dirty="0"/>
              <a:t> cu. </a:t>
            </a:r>
            <a:r>
              <a:rPr lang="en-US" dirty="0" err="1"/>
              <a:t>Vocent</a:t>
            </a:r>
            <a:r>
              <a:rPr lang="en-US" dirty="0"/>
              <a:t> </a:t>
            </a:r>
            <a:r>
              <a:rPr lang="en-US" dirty="0" err="1"/>
              <a:t>convenire</a:t>
            </a:r>
            <a:r>
              <a:rPr lang="en-US" dirty="0"/>
              <a:t>, per cu </a:t>
            </a: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tempor</a:t>
            </a:r>
            <a:r>
              <a:rPr lang="en-US" dirty="0"/>
              <a:t> </a:t>
            </a:r>
            <a:r>
              <a:rPr lang="en-US" dirty="0" err="1"/>
              <a:t>ponderum</a:t>
            </a:r>
            <a:r>
              <a:rPr lang="en-US" dirty="0"/>
              <a:t>.</a:t>
            </a:r>
          </a:p>
        </p:txBody>
      </p:sp>
      <p:sp>
        <p:nvSpPr>
          <p:cNvPr id="94" name="Picture Placeholder 5"/>
          <p:cNvSpPr>
            <a:spLocks noGrp="1"/>
          </p:cNvSpPr>
          <p:nvPr>
            <p:ph type="pic" sz="quarter" idx="32" hasCustomPrompt="1"/>
          </p:nvPr>
        </p:nvSpPr>
        <p:spPr>
          <a:xfrm>
            <a:off x="543910" y="3646190"/>
            <a:ext cx="544862" cy="438150"/>
          </a:xfrm>
          <a:prstGeom prst="rect">
            <a:avLst/>
          </a:prstGeom>
          <a:solidFill>
            <a:schemeClr val="tx2"/>
          </a:solidFill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sz="45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CON SYMBOL</a:t>
            </a:r>
            <a:endParaRPr lang="en-US" dirty="0"/>
          </a:p>
        </p:txBody>
      </p:sp>
      <p:sp>
        <p:nvSpPr>
          <p:cNvPr id="95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1430"/>
            <a:ext cx="4225801" cy="184579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r>
              <a:rPr lang="en-US" dirty="0">
                <a:solidFill>
                  <a:srgbClr val="FFFFFF"/>
                </a:solidFill>
              </a:rPr>
              <a:t>INSERT PRESENTATION TITLE HERE  |  INSERT NAME HERE</a:t>
            </a:r>
          </a:p>
        </p:txBody>
      </p:sp>
      <p:sp>
        <p:nvSpPr>
          <p:cNvPr id="96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37716"/>
            <a:ext cx="316126" cy="184579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7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/>
              <a:t>Tuesday, 17 December 2019</a:t>
            </a:fld>
            <a:r>
              <a:rPr lang="en-GB" sz="600">
                <a:solidFill>
                  <a:srgbClr val="FFFFFF"/>
                </a:solidFill>
              </a:rPr>
              <a:t>  </a:t>
            </a:r>
            <a:r>
              <a:rPr lang="en-GB" sz="600" dirty="0">
                <a:solidFill>
                  <a:srgbClr val="FFFFFF"/>
                </a:solidFill>
              </a:rPr>
              <a:t>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2392644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HR Slide - Intro Para, Bullets, 4 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905" y="155800"/>
            <a:ext cx="7474995" cy="47635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800" b="0" i="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r>
              <a:rPr lang="en-US" dirty="0"/>
              <a:t>CLICK TO EDIT HEADING TEXT. UPPERCASE ONLY. 24PT</a:t>
            </a:r>
            <a:br>
              <a:rPr lang="en-US" dirty="0"/>
            </a:br>
            <a:r>
              <a:rPr lang="en-US" dirty="0"/>
              <a:t>INTRO PARAGRAPH WITH BULLET POINTS AND 4 X PICTURES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3910" y="1164977"/>
            <a:ext cx="4886294" cy="525217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50" b="0" i="0" baseline="0">
                <a:solidFill>
                  <a:schemeClr val="tx1"/>
                </a:solidFill>
                <a:latin typeface="+mn-lt"/>
                <a:ea typeface="Arial MT Light" charset="0"/>
                <a:cs typeface="Arial MT Light" charset="0"/>
              </a:defRPr>
            </a:lvl1pPr>
            <a:lvl2pPr marL="342900" indent="0" algn="l">
              <a:buFontTx/>
              <a:buNone/>
              <a:defRPr sz="900"/>
            </a:lvl2pPr>
            <a:lvl3pPr marL="685800" indent="0" algn="l">
              <a:buFontTx/>
              <a:buNone/>
              <a:defRPr sz="900"/>
            </a:lvl3pPr>
            <a:lvl4pPr marL="1028700" indent="0" algn="l">
              <a:buFontTx/>
              <a:buNone/>
              <a:defRPr sz="900"/>
            </a:lvl4pPr>
            <a:lvl5pPr marL="1371600" indent="0" algn="l">
              <a:buFontTx/>
              <a:buNone/>
              <a:defRPr sz="900"/>
            </a:lvl5pPr>
          </a:lstStyle>
          <a:p>
            <a:pPr lvl="0"/>
            <a:r>
              <a:rPr lang="en-US" dirty="0"/>
              <a:t>This slide is designed to be used when you only have a small intro paragraph and bullet points. 18PT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5662614" y="1164432"/>
            <a:ext cx="1469707" cy="14187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543910" y="1749636"/>
            <a:ext cx="4885340" cy="2446735"/>
          </a:xfrm>
          <a:prstGeom prst="rect">
            <a:avLst/>
          </a:prstGeom>
        </p:spPr>
        <p:txBody>
          <a:bodyPr lIns="0" tIns="0" rIns="0" bIns="0"/>
          <a:lstStyle>
            <a:lvl1pPr marL="101204" indent="-101204">
              <a:tabLst/>
              <a:defRPr sz="1050" baseline="0"/>
            </a:lvl1pPr>
            <a:lvl2pPr marL="235744" indent="-102394">
              <a:tabLst/>
              <a:defRPr sz="900" baseline="0"/>
            </a:lvl2pPr>
            <a:lvl3pPr marL="338138" indent="-102394">
              <a:tabLst/>
              <a:defRPr sz="750" baseline="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. 14PT</a:t>
            </a:r>
          </a:p>
          <a:p>
            <a:pPr lvl="1"/>
            <a:r>
              <a:rPr lang="en-US" dirty="0"/>
              <a:t>Second level. 12PT</a:t>
            </a:r>
          </a:p>
          <a:p>
            <a:pPr lvl="2"/>
            <a:r>
              <a:rPr lang="en-US" dirty="0"/>
              <a:t>Third level. 10PT</a:t>
            </a:r>
          </a:p>
        </p:txBody>
      </p:sp>
      <p:sp>
        <p:nvSpPr>
          <p:cNvPr id="37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7353300" y="1164432"/>
            <a:ext cx="1469707" cy="14187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662614" y="2821781"/>
            <a:ext cx="1469707" cy="14187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3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7353300" y="2821781"/>
            <a:ext cx="1469707" cy="141874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/>
            </a:solidFill>
          </a:ln>
          <a:effectLst>
            <a:outerShdw blurRad="50800" dist="76200" dir="5400000" algn="t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40" name="Footer Placeholder 33"/>
          <p:cNvSpPr>
            <a:spLocks noGrp="1"/>
          </p:cNvSpPr>
          <p:nvPr>
            <p:ph type="ftr" sz="quarter" idx="3"/>
          </p:nvPr>
        </p:nvSpPr>
        <p:spPr>
          <a:xfrm>
            <a:off x="155700" y="4947189"/>
            <a:ext cx="4225801" cy="173060"/>
          </a:xfrm>
          <a:prstGeom prst="rect">
            <a:avLst/>
          </a:prstGeom>
        </p:spPr>
        <p:txBody>
          <a:bodyPr anchor="ctr"/>
          <a:lstStyle>
            <a:lvl1pPr>
              <a:defRPr sz="600"/>
            </a:lvl1pPr>
          </a:lstStyle>
          <a:p>
            <a:pPr defTabSz="685800"/>
            <a:r>
              <a:rPr lang="en-US" smtClean="0">
                <a:solidFill>
                  <a:srgbClr val="FFFFFF"/>
                </a:solidFill>
              </a:rPr>
              <a:t>INSERT PRESENTATION TITLE HERE  |  INSERT NAME HER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1" name="Slide Number Placeholder 34"/>
          <p:cNvSpPr>
            <a:spLocks noGrp="1"/>
          </p:cNvSpPr>
          <p:nvPr>
            <p:ph type="sldNum" sz="quarter" idx="4"/>
          </p:nvPr>
        </p:nvSpPr>
        <p:spPr>
          <a:xfrm>
            <a:off x="8684972" y="4943475"/>
            <a:ext cx="316126" cy="173060"/>
          </a:xfrm>
          <a:prstGeom prst="rect">
            <a:avLst/>
          </a:prstGeom>
        </p:spPr>
        <p:txBody>
          <a:bodyPr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pPr defTabSz="685800"/>
            <a:fld id="{496097A3-845D-4C79-9B10-713A18711759}" type="slidenum">
              <a:rPr lang="en-US" smtClean="0">
                <a:solidFill>
                  <a:srgbClr val="FFFFFF"/>
                </a:solidFill>
              </a:rPr>
              <a:pPr defTabSz="685800"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2" name="Date Placeholder 32"/>
          <p:cNvSpPr>
            <a:spLocks noGrp="1"/>
          </p:cNvSpPr>
          <p:nvPr>
            <p:ph type="dt" sz="half" idx="2"/>
          </p:nvPr>
        </p:nvSpPr>
        <p:spPr>
          <a:xfrm>
            <a:off x="7014753" y="4943475"/>
            <a:ext cx="1671638" cy="18097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 defTabSz="685800"/>
            <a:fld id="{315F80CF-B076-F04C-8770-B8A09243D5BC}" type="datetime2">
              <a:rPr lang="en-GB" sz="600" smtClean="0">
                <a:solidFill>
                  <a:srgbClr val="FFFFFF"/>
                </a:solidFill>
              </a:rPr>
              <a:pPr algn="r" defTabSz="685800"/>
              <a:t>Tuesday, 17 December 2019</a:t>
            </a:fld>
            <a:r>
              <a:rPr lang="en-GB" sz="600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905" y="695325"/>
            <a:ext cx="7474995" cy="22379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buNone/>
              <a:defRPr sz="1050" b="0" i="0">
                <a:solidFill>
                  <a:schemeClr val="accent2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 HEADING. UPPERCASE ONLY. 14PT</a:t>
            </a:r>
          </a:p>
        </p:txBody>
      </p:sp>
    </p:spTree>
    <p:extLst>
      <p:ext uri="{BB962C8B-B14F-4D97-AF65-F5344CB8AC3E}">
        <p14:creationId xmlns:p14="http://schemas.microsoft.com/office/powerpoint/2010/main" val="1801012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heme" Target="../theme/theme3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21.xml"/><Relationship Id="rId7" Type="http://schemas.openxmlformats.org/officeDocument/2006/relationships/vmlDrawing" Target="../drawings/vmlDrawing5.v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34.xml"/><Relationship Id="rId6" Type="http://schemas.openxmlformats.org/officeDocument/2006/relationships/theme" Target="../theme/theme4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7.emf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oleObject" Target="../embeddings/oleObject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89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7" Type="http://schemas.openxmlformats.org/officeDocument/2006/relationships/oleObject" Target="../embeddings/oleObject14.bin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tags" Target="../tags/tag91.xml"/><Relationship Id="rId5" Type="http://schemas.openxmlformats.org/officeDocument/2006/relationships/vmlDrawing" Target="../drawings/vmlDrawing12.vml"/><Relationship Id="rId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1482421"/>
              </p:ext>
            </p:extLst>
          </p:nvPr>
        </p:nvGraphicFramePr>
        <p:xfrm>
          <a:off x="161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7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6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884" y="88474"/>
            <a:ext cx="7200000" cy="39433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lvl="0"/>
            <a:r>
              <a:rPr lang="en-US" dirty="0" smtClean="0"/>
              <a:t>CLICK TO EDIT MASTER TITLE TEX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7884" y="535357"/>
            <a:ext cx="7226609" cy="198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SUBTITLE TEXT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91631" y="4947189"/>
            <a:ext cx="5200985" cy="220102"/>
          </a:xfrm>
          <a:prstGeom prst="rect">
            <a:avLst/>
          </a:prstGeom>
          <a:noFill/>
        </p:spPr>
        <p:txBody>
          <a:bodyPr wrap="square" lIns="0" tIns="45677" rIns="91355" bIns="45677" rtlCol="0">
            <a:spAutoFit/>
          </a:bodyPr>
          <a:lstStyle>
            <a:lvl1pPr>
              <a:defRPr lang="nl-NL" sz="83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INSERT PRESENTATION TITLE  |  INSERT NAM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593016" y="4916261"/>
            <a:ext cx="449693" cy="220102"/>
          </a:xfrm>
          <a:prstGeom prst="rect">
            <a:avLst/>
          </a:prstGeom>
        </p:spPr>
        <p:txBody>
          <a:bodyPr vert="horz" wrap="square" lIns="91355" tIns="45677" rIns="0" bIns="45677" rtlCol="0" anchor="ctr">
            <a:spAutoFit/>
          </a:bodyPr>
          <a:lstStyle>
            <a:lvl1pPr algn="r">
              <a:defRPr sz="831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6560528" y="4943475"/>
            <a:ext cx="2057400" cy="180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31">
                <a:solidFill>
                  <a:schemeClr val="bg1"/>
                </a:solidFill>
              </a:defRPr>
            </a:lvl1pPr>
          </a:lstStyle>
          <a:p>
            <a:pPr algn="r"/>
            <a:fld id="{717473CF-BBB0-9F47-BB0D-9452CE09BCF5}" type="datetime2">
              <a:rPr lang="en-GB" smtClean="0"/>
              <a:pPr algn="r"/>
              <a:t>Tuesday, 17 December 2019</a:t>
            </a:fld>
            <a:r>
              <a:rPr lang="en-GB" smtClean="0"/>
              <a:t>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779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5" r:id="rId3"/>
    <p:sldLayoutId id="2147483792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43209" rtl="0" eaLnBrk="1" latinLnBrk="0" hangingPunct="1">
        <a:lnSpc>
          <a:spcPts val="3101"/>
        </a:lnSpc>
        <a:spcBef>
          <a:spcPct val="0"/>
        </a:spcBef>
        <a:buNone/>
        <a:defRPr lang="en-US" sz="2216" b="0" i="0" kern="1200" baseline="0" dirty="0">
          <a:solidFill>
            <a:schemeClr val="bg1"/>
          </a:solidFill>
          <a:latin typeface="Arial MT Light" charset="0"/>
          <a:ea typeface="Arial MT Light" charset="0"/>
          <a:cs typeface="Arial MT Light" charset="0"/>
        </a:defRPr>
      </a:lvl1pPr>
    </p:titleStyle>
    <p:bodyStyle>
      <a:lvl1pPr marL="0" indent="0" algn="l" defTabSz="843209" rtl="0" eaLnBrk="1" latinLnBrk="0" hangingPunct="1">
        <a:lnSpc>
          <a:spcPct val="100000"/>
        </a:lnSpc>
        <a:spcBef>
          <a:spcPts val="1108"/>
        </a:spcBef>
        <a:spcAft>
          <a:spcPts val="277"/>
        </a:spcAft>
        <a:buFontTx/>
        <a:buNone/>
        <a:defRPr lang="en-US" sz="1292" b="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27953" indent="-162515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•"/>
        <a:defRPr lang="en-US" sz="1661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4818" indent="-162687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–"/>
        <a:defRPr lang="en-US" sz="1477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97623" indent="-162687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–"/>
        <a:defRPr lang="en-US" sz="1292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97623" indent="-19034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None/>
        <a:defRPr lang="en-GB" sz="1292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318822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0427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2031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3635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1605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20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4812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641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8021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2962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1230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2832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61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8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884" y="88474"/>
            <a:ext cx="7200000" cy="39433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lvl="0"/>
            <a:r>
              <a:rPr lang="en-US" dirty="0" smtClean="0"/>
              <a:t>CLICK TO EDIT MASTER TITLE TEX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7884" y="535357"/>
            <a:ext cx="7226609" cy="198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SUBTITLE TEXT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91631" y="4947189"/>
            <a:ext cx="5200985" cy="220102"/>
          </a:xfrm>
          <a:prstGeom prst="rect">
            <a:avLst/>
          </a:prstGeom>
          <a:noFill/>
        </p:spPr>
        <p:txBody>
          <a:bodyPr wrap="square" lIns="0" tIns="45677" rIns="91355" bIns="45677" rtlCol="0">
            <a:spAutoFit/>
          </a:bodyPr>
          <a:lstStyle>
            <a:lvl1pPr>
              <a:defRPr lang="nl-NL" sz="83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INSERT PRESENTATION TITLE  |  INSERT NAM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593016" y="4916261"/>
            <a:ext cx="449693" cy="220102"/>
          </a:xfrm>
          <a:prstGeom prst="rect">
            <a:avLst/>
          </a:prstGeom>
        </p:spPr>
        <p:txBody>
          <a:bodyPr vert="horz" wrap="square" lIns="91355" tIns="45677" rIns="0" bIns="45677" rtlCol="0" anchor="ctr">
            <a:spAutoFit/>
          </a:bodyPr>
          <a:lstStyle>
            <a:lvl1pPr algn="r">
              <a:defRPr sz="831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6560528" y="4943475"/>
            <a:ext cx="2057400" cy="180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31">
                <a:solidFill>
                  <a:schemeClr val="bg1"/>
                </a:solidFill>
              </a:defRPr>
            </a:lvl1pPr>
          </a:lstStyle>
          <a:p>
            <a:pPr algn="r"/>
            <a:fld id="{717473CF-BBB0-9F47-BB0D-9452CE09BCF5}" type="datetime2">
              <a:rPr lang="en-GB" smtClean="0">
                <a:solidFill>
                  <a:srgbClr val="FFFFFF"/>
                </a:solidFill>
              </a:rPr>
              <a:pPr algn="r"/>
              <a:t>Tuesday, 17 December 2019</a:t>
            </a:fld>
            <a:r>
              <a:rPr lang="en-GB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0204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43209" rtl="0" eaLnBrk="1" latinLnBrk="0" hangingPunct="1">
        <a:lnSpc>
          <a:spcPts val="3101"/>
        </a:lnSpc>
        <a:spcBef>
          <a:spcPct val="0"/>
        </a:spcBef>
        <a:buNone/>
        <a:defRPr lang="en-US" sz="2216" b="0" i="0" kern="1200" baseline="0" dirty="0">
          <a:solidFill>
            <a:schemeClr val="bg1"/>
          </a:solidFill>
          <a:latin typeface="Arial MT Light" charset="0"/>
          <a:ea typeface="Arial MT Light" charset="0"/>
          <a:cs typeface="Arial MT Light" charset="0"/>
        </a:defRPr>
      </a:lvl1pPr>
    </p:titleStyle>
    <p:bodyStyle>
      <a:lvl1pPr marL="0" indent="0" algn="l" defTabSz="843209" rtl="0" eaLnBrk="1" latinLnBrk="0" hangingPunct="1">
        <a:lnSpc>
          <a:spcPct val="100000"/>
        </a:lnSpc>
        <a:spcBef>
          <a:spcPts val="1108"/>
        </a:spcBef>
        <a:spcAft>
          <a:spcPts val="277"/>
        </a:spcAft>
        <a:buFontTx/>
        <a:buNone/>
        <a:defRPr lang="en-US" sz="1292" b="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27953" indent="-162515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•"/>
        <a:defRPr lang="en-US" sz="1661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4818" indent="-162687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–"/>
        <a:defRPr lang="en-US" sz="1477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97623" indent="-162687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–"/>
        <a:defRPr lang="en-US" sz="1292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97623" indent="-19034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None/>
        <a:defRPr lang="en-GB" sz="1292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318822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0427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2031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3635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1605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20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4812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641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8021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2962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1230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2832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233905" y="155800"/>
            <a:ext cx="7551941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>
                <a:solidFill>
                  <a:srgbClr val="3E3838"/>
                </a:solidFill>
              </a:rPr>
              <a:t>LLA PURPLE SLIDES </a:t>
            </a:r>
            <a:r>
              <a:rPr lang="mr-IN" sz="1800" dirty="0">
                <a:solidFill>
                  <a:srgbClr val="3E3838"/>
                </a:solidFill>
              </a:rPr>
              <a:t>–</a:t>
            </a:r>
            <a:r>
              <a:rPr lang="en-US" sz="1800" dirty="0">
                <a:solidFill>
                  <a:srgbClr val="3E3838"/>
                </a:solidFill>
              </a:rPr>
              <a:t> HR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1060" y="116545"/>
            <a:ext cx="508960" cy="617891"/>
          </a:xfrm>
          <a:prstGeom prst="rect">
            <a:avLst/>
          </a:prstGeom>
          <a:effectLst/>
        </p:spPr>
      </p:pic>
      <p:sp>
        <p:nvSpPr>
          <p:cNvPr id="31" name="Rectangle 30"/>
          <p:cNvSpPr/>
          <p:nvPr userDrawn="1"/>
        </p:nvSpPr>
        <p:spPr>
          <a:xfrm>
            <a:off x="0" y="0"/>
            <a:ext cx="8401051" cy="754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E29475FC-A2AC-B348-A11F-C005BF53D6A4}"/>
              </a:ext>
            </a:extLst>
          </p:cNvPr>
          <p:cNvGrpSpPr/>
          <p:nvPr userDrawn="1"/>
        </p:nvGrpSpPr>
        <p:grpSpPr>
          <a:xfrm>
            <a:off x="129584" y="4857871"/>
            <a:ext cx="2254014" cy="237887"/>
            <a:chOff x="166856" y="6442435"/>
            <a:chExt cx="4854924" cy="317183"/>
          </a:xfrm>
        </p:grpSpPr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xmlns="" id="{8C3A518A-FBAE-1945-94AA-FAFC2042BAC9}"/>
                </a:ext>
              </a:extLst>
            </p:cNvPr>
            <p:cNvSpPr/>
            <p:nvPr userDrawn="1"/>
          </p:nvSpPr>
          <p:spPr>
            <a:xfrm>
              <a:off x="1395370" y="6442435"/>
              <a:ext cx="1148080" cy="317183"/>
            </a:xfrm>
            <a:prstGeom prst="roundRect">
              <a:avLst/>
            </a:prstGeom>
            <a:solidFill>
              <a:srgbClr val="FFA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defTabSz="685800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xmlns="" id="{79E0E0F8-3AAA-1B44-8C46-EB623D8F8164}"/>
                </a:ext>
              </a:extLst>
            </p:cNvPr>
            <p:cNvSpPr/>
            <p:nvPr userDrawn="1"/>
          </p:nvSpPr>
          <p:spPr>
            <a:xfrm>
              <a:off x="3873700" y="6442435"/>
              <a:ext cx="1148080" cy="317183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defTabSz="685800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xmlns="" id="{1AD2CCDB-C300-CF4A-BF3E-6B29076984AD}"/>
                </a:ext>
              </a:extLst>
            </p:cNvPr>
            <p:cNvSpPr/>
            <p:nvPr userDrawn="1"/>
          </p:nvSpPr>
          <p:spPr>
            <a:xfrm>
              <a:off x="2639027" y="6442435"/>
              <a:ext cx="1148080" cy="317183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defTabSz="685800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xmlns="" id="{BB07C9EB-D471-AA47-A577-2E6D56ACEC6F}"/>
                </a:ext>
              </a:extLst>
            </p:cNvPr>
            <p:cNvSpPr/>
            <p:nvPr userDrawn="1"/>
          </p:nvSpPr>
          <p:spPr>
            <a:xfrm>
              <a:off x="166856" y="6442435"/>
              <a:ext cx="1148080" cy="31718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defTabSz="685800"/>
              <a:endParaRPr lang="en-US" sz="1200">
                <a:solidFill>
                  <a:srgbClr val="FFFFFF"/>
                </a:solidFill>
              </a:endParaRPr>
            </a:p>
          </p:txBody>
        </p:sp>
      </p:grpSp>
      <p:cxnSp>
        <p:nvCxnSpPr>
          <p:cNvPr id="27" name="Straight Connector 26"/>
          <p:cNvCxnSpPr/>
          <p:nvPr userDrawn="1"/>
        </p:nvCxnSpPr>
        <p:spPr>
          <a:xfrm>
            <a:off x="0" y="4920398"/>
            <a:ext cx="9144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1" y="4931476"/>
            <a:ext cx="9143999" cy="2120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589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  <p:sldLayoutId id="2147483742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23" name="Diapositiva de think-cell" r:id="rId27" imgW="38100" imgH="38100" progId="TCLayout.ActiveDocument.1">
                  <p:embed/>
                </p:oleObj>
              </mc:Choice>
              <mc:Fallback>
                <p:oleObj name="Diapositiva de think-cell" r:id="rId27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2144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329" y="1493044"/>
            <a:ext cx="4389834" cy="922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s-CL"/>
              <a:t>Click to edit Master text styles</a:t>
            </a:r>
          </a:p>
          <a:p>
            <a:pPr lvl="1"/>
            <a:r>
              <a:rPr lang="en-US" altLang="es-CL"/>
              <a:t>Second level</a:t>
            </a:r>
          </a:p>
          <a:p>
            <a:pPr lvl="2"/>
            <a:r>
              <a:rPr lang="en-US" altLang="es-CL"/>
              <a:t>Third level</a:t>
            </a:r>
          </a:p>
          <a:p>
            <a:pPr lvl="3"/>
            <a:r>
              <a:rPr lang="en-US" altLang="es-CL"/>
              <a:t>Fourth level</a:t>
            </a:r>
          </a:p>
          <a:p>
            <a:pPr lvl="4"/>
            <a:r>
              <a:rPr lang="en-US" altLang="es-CL"/>
              <a:t>Fifth level</a:t>
            </a:r>
            <a:endParaRPr lang="en-GB" altLang="es-CL"/>
          </a:p>
        </p:txBody>
      </p:sp>
      <p:sp>
        <p:nvSpPr>
          <p:cNvPr id="102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3122" y="178594"/>
            <a:ext cx="7724775" cy="2309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s-CL"/>
              <a:t>Click to edit Master title style</a:t>
            </a:r>
            <a:endParaRPr lang="en-GB" altLang="es-CL"/>
          </a:p>
        </p:txBody>
      </p:sp>
      <p:sp>
        <p:nvSpPr>
          <p:cNvPr id="1029" name="McK 1. On-page tracker" hidden="1"/>
          <p:cNvSpPr>
            <a:spLocks noChangeArrowheads="1"/>
          </p:cNvSpPr>
          <p:nvPr/>
        </p:nvSpPr>
        <p:spPr bwMode="auto">
          <a:xfrm>
            <a:off x="213123" y="14288"/>
            <a:ext cx="64440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s-CL" sz="1050">
                <a:solidFill>
                  <a:srgbClr val="80808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13122" y="441722"/>
            <a:ext cx="77247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80808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031" name="McK Slide Elements" hidden="1"/>
          <p:cNvGrpSpPr>
            <a:grpSpLocks/>
          </p:cNvGrpSpPr>
          <p:nvPr/>
        </p:nvGrpSpPr>
        <p:grpSpPr bwMode="auto">
          <a:xfrm>
            <a:off x="213123" y="4604154"/>
            <a:ext cx="8712994" cy="284560"/>
            <a:chOff x="75" y="3921"/>
            <a:chExt cx="645" cy="23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1"/>
              <a:ext cx="644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750" dirty="0">
                  <a:solidFill>
                    <a:srgbClr val="000000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085" name="McK 5. Source"/>
            <p:cNvSpPr>
              <a:spLocks noChangeArrowheads="1"/>
            </p:cNvSpPr>
            <p:nvPr/>
          </p:nvSpPr>
          <p:spPr bwMode="auto">
            <a:xfrm>
              <a:off x="75" y="4060"/>
              <a:ext cx="64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12775" indent="-612775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955675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955675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750">
                  <a:solidFill>
                    <a:srgbClr val="00000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OURCE: Source</a:t>
              </a:r>
            </a:p>
          </p:txBody>
        </p:sp>
      </p:grpSp>
      <p:grpSp>
        <p:nvGrpSpPr>
          <p:cNvPr id="1032" name="ACET" hidden="1"/>
          <p:cNvGrpSpPr>
            <a:grpSpLocks/>
          </p:cNvGrpSpPr>
          <p:nvPr/>
        </p:nvGrpSpPr>
        <p:grpSpPr bwMode="auto">
          <a:xfrm>
            <a:off x="1482329" y="863091"/>
            <a:ext cx="4350544" cy="388259"/>
            <a:chOff x="915" y="710"/>
            <a:chExt cx="2686" cy="320"/>
          </a:xfrm>
        </p:grpSpPr>
        <p:cxnSp>
          <p:nvCxnSpPr>
            <p:cNvPr id="1082" name="AutoShape 249"/>
            <p:cNvCxnSpPr>
              <a:cxnSpLocks noChangeShapeType="1"/>
              <a:stCxn id="1083" idx="4"/>
              <a:endCxn id="108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8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1200" b="1">
                  <a:solidFill>
                    <a:srgbClr val="00000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Title</a:t>
              </a:r>
            </a:p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s-CL" sz="1200">
                  <a:solidFill>
                    <a:srgbClr val="808080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Unit of measure</a:t>
              </a:r>
            </a:p>
          </p:txBody>
        </p:sp>
      </p:grpSp>
      <p:grpSp>
        <p:nvGrpSpPr>
          <p:cNvPr id="1033" name="LegendBoxes" hidden="1"/>
          <p:cNvGrpSpPr>
            <a:grpSpLocks/>
          </p:cNvGrpSpPr>
          <p:nvPr/>
        </p:nvGrpSpPr>
        <p:grpSpPr bwMode="auto">
          <a:xfrm>
            <a:off x="7233051" y="235744"/>
            <a:ext cx="619674" cy="747713"/>
            <a:chOff x="4936" y="176"/>
            <a:chExt cx="423" cy="628"/>
          </a:xfrm>
        </p:grpSpPr>
        <p:sp>
          <p:nvSpPr>
            <p:cNvPr id="107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107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107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108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8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</p:grpSp>
      <p:grpSp>
        <p:nvGrpSpPr>
          <p:cNvPr id="1034" name="LegendLines" hidden="1"/>
          <p:cNvGrpSpPr>
            <a:grpSpLocks/>
          </p:cNvGrpSpPr>
          <p:nvPr/>
        </p:nvGrpSpPr>
        <p:grpSpPr bwMode="auto">
          <a:xfrm>
            <a:off x="6948485" y="235744"/>
            <a:ext cx="904234" cy="547688"/>
            <a:chOff x="4750" y="176"/>
            <a:chExt cx="617" cy="460"/>
          </a:xfrm>
        </p:grpSpPr>
        <p:sp>
          <p:nvSpPr>
            <p:cNvPr id="1068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1069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1070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CD171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  <p:sp>
          <p:nvSpPr>
            <p:cNvPr id="1071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2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73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35" name="McKSticker" hidden="1"/>
          <p:cNvGrpSpPr>
            <a:grpSpLocks/>
          </p:cNvGrpSpPr>
          <p:nvPr/>
        </p:nvGrpSpPr>
        <p:grpSpPr bwMode="auto">
          <a:xfrm>
            <a:off x="7127929" y="235744"/>
            <a:ext cx="809966" cy="166199"/>
            <a:chOff x="7863234" y="285750"/>
            <a:chExt cx="877541" cy="221226"/>
          </a:xfrm>
        </p:grpSpPr>
        <p:sp>
          <p:nvSpPr>
            <p:cNvPr id="1065" name="StickerRectangle"/>
            <p:cNvSpPr>
              <a:spLocks noChangeArrowheads="1"/>
            </p:cNvSpPr>
            <p:nvPr/>
          </p:nvSpPr>
          <p:spPr bwMode="auto">
            <a:xfrm>
              <a:off x="7863234" y="285750"/>
              <a:ext cx="877541" cy="2212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066" name="AutoShape 31"/>
            <p:cNvCxnSpPr>
              <a:cxnSpLocks noChangeShapeType="1"/>
              <a:stCxn id="1065" idx="2"/>
              <a:endCxn id="1065" idx="4"/>
            </p:cNvCxnSpPr>
            <p:nvPr/>
          </p:nvCxnSpPr>
          <p:spPr bwMode="auto">
            <a:xfrm>
              <a:off x="7863234" y="285750"/>
              <a:ext cx="0" cy="22122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7" name="AutoShape 32"/>
            <p:cNvCxnSpPr>
              <a:cxnSpLocks noChangeShapeType="1"/>
              <a:stCxn id="1065" idx="4"/>
              <a:endCxn id="1065" idx="6"/>
            </p:cNvCxnSpPr>
            <p:nvPr/>
          </p:nvCxnSpPr>
          <p:spPr bwMode="auto">
            <a:xfrm>
              <a:off x="7863234" y="506976"/>
              <a:ext cx="87754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6" name="LegendMoons" hidden="1"/>
          <p:cNvGrpSpPr>
            <a:grpSpLocks/>
          </p:cNvGrpSpPr>
          <p:nvPr/>
        </p:nvGrpSpPr>
        <p:grpSpPr bwMode="auto">
          <a:xfrm>
            <a:off x="7171138" y="235744"/>
            <a:ext cx="681186" cy="979885"/>
            <a:chOff x="7875175" y="286625"/>
            <a:chExt cx="737590" cy="1306516"/>
          </a:xfrm>
        </p:grpSpPr>
        <p:grpSp>
          <p:nvGrpSpPr>
            <p:cNvPr id="104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63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1064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60000 65536"/>
                  <a:gd name="T5" fmla="*/ 0 60000 6553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61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1062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4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059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1060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w 10000"/>
                  <a:gd name="T7" fmla="*/ 0 h 10000"/>
                  <a:gd name="T8" fmla="*/ 0 w 10000"/>
                  <a:gd name="T9" fmla="*/ 0 h 100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cubicBezTo>
                      <a:pt x="2239" y="10000"/>
                      <a:pt x="0" y="7761"/>
                      <a:pt x="0" y="5000"/>
                    </a:cubicBezTo>
                    <a:cubicBezTo>
                      <a:pt x="0" y="2239"/>
                      <a:pt x="2239" y="0"/>
                      <a:pt x="5000" y="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048" name="Legend1"/>
            <p:cNvSpPr>
              <a:spLocks noChangeArrowheads="1"/>
            </p:cNvSpPr>
            <p:nvPr/>
          </p:nvSpPr>
          <p:spPr bwMode="auto">
            <a:xfrm>
              <a:off x="8196188" y="299325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49" name="Legend2"/>
            <p:cNvSpPr>
              <a:spLocks noChangeArrowheads="1"/>
            </p:cNvSpPr>
            <p:nvPr/>
          </p:nvSpPr>
          <p:spPr bwMode="auto">
            <a:xfrm>
              <a:off x="8196188" y="573964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0" name="Legend3"/>
            <p:cNvSpPr>
              <a:spLocks noChangeArrowheads="1"/>
            </p:cNvSpPr>
            <p:nvPr/>
          </p:nvSpPr>
          <p:spPr bwMode="auto">
            <a:xfrm>
              <a:off x="8196188" y="848601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1" name="Legend4"/>
            <p:cNvSpPr>
              <a:spLocks noChangeArrowheads="1"/>
            </p:cNvSpPr>
            <p:nvPr/>
          </p:nvSpPr>
          <p:spPr bwMode="auto">
            <a:xfrm>
              <a:off x="8196188" y="1120065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52" name="Legend5"/>
            <p:cNvSpPr>
              <a:spLocks noChangeArrowheads="1"/>
            </p:cNvSpPr>
            <p:nvPr/>
          </p:nvSpPr>
          <p:spPr bwMode="auto">
            <a:xfrm>
              <a:off x="8196188" y="1396291"/>
              <a:ext cx="416577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defRPr/>
              </a:pPr>
              <a:r>
                <a:rPr lang="en-US" altLang="es-CL" sz="90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05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0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10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chemeClr val="accent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054" name="MoonLegend1"/>
            <p:cNvGrpSpPr>
              <a:grpSpLocks noChangeAspect="1"/>
            </p:cNvGrpSpPr>
            <p:nvPr userDrawn="1">
              <p:custDataLst>
                <p:tags r:id="rId16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055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2828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7400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1972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654425" indent="3175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s-CL" altLang="es-CL" sz="1275">
                  <a:solidFill>
                    <a:srgbClr val="000000"/>
                  </a:solidFill>
                </a:endParaRPr>
              </a:p>
            </p:txBody>
          </p:sp>
          <p:sp>
            <p:nvSpPr>
              <p:cNvPr id="1056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custGeom>
                <a:avLst/>
                <a:gdLst>
                  <a:gd name="T0" fmla="*/ 0 w 10000"/>
                  <a:gd name="T1" fmla="*/ 0 h 10000"/>
                  <a:gd name="T2" fmla="*/ 0 w 10000"/>
                  <a:gd name="T3" fmla="*/ 0 h 10000"/>
                  <a:gd name="T4" fmla="*/ 0 w 10000"/>
                  <a:gd name="T5" fmla="*/ 0 h 100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0000" h="10000" stroke="0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  <a:lnTo>
                      <a:pt x="5000" y="5000"/>
                    </a:lnTo>
                    <a:lnTo>
                      <a:pt x="5000" y="0"/>
                    </a:lnTo>
                    <a:close/>
                  </a:path>
                  <a:path w="10000" h="10000" fill="none">
                    <a:moveTo>
                      <a:pt x="5000" y="0"/>
                    </a:moveTo>
                    <a:cubicBezTo>
                      <a:pt x="7761" y="0"/>
                      <a:pt x="10000" y="2239"/>
                      <a:pt x="10000" y="5000"/>
                    </a:cubicBezTo>
                    <a:cubicBezTo>
                      <a:pt x="10000" y="7761"/>
                      <a:pt x="7761" y="10000"/>
                      <a:pt x="5000" y="10000"/>
                    </a:cubicBezTo>
                  </a:path>
                </a:pathLst>
              </a:custGeom>
              <a:solidFill>
                <a:schemeClr val="folHlink"/>
              </a:solidFill>
              <a:ln w="9525">
                <a:solidFill>
                  <a:srgbClr val="808080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461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s-CL" sz="135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5" name="Slide Number"/>
          <p:cNvSpPr txBox="1">
            <a:spLocks/>
          </p:cNvSpPr>
          <p:nvPr/>
        </p:nvSpPr>
        <p:spPr bwMode="auto">
          <a:xfrm>
            <a:off x="8773278" y="4988756"/>
            <a:ext cx="168316" cy="115416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defTabSz="685800" fontAlgn="base">
              <a:spcBef>
                <a:spcPct val="0"/>
              </a:spcBef>
              <a:spcAft>
                <a:spcPct val="0"/>
              </a:spcAft>
              <a:defRPr/>
            </a:pPr>
            <a:fld id="{4CC2E029-BADB-483A-87FA-ECBA22FE363B}" type="slidenum">
              <a:rPr lang="en-US" altLang="es-CL" sz="750" smtClean="0">
                <a:solidFill>
                  <a:srgbClr val="FFFFFF"/>
                </a:solidFill>
              </a:rPr>
              <a:pPr algn="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s-CL" sz="750">
              <a:solidFill>
                <a:srgbClr val="FFFFFF"/>
              </a:solidFill>
            </a:endParaRPr>
          </a:p>
        </p:txBody>
      </p:sp>
      <p:grpSp>
        <p:nvGrpSpPr>
          <p:cNvPr id="1038" name="McK Moon" hidden="1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7349729" y="2141935"/>
            <a:ext cx="234553" cy="190500"/>
            <a:chOff x="1600" y="1600"/>
            <a:chExt cx="160" cy="160"/>
          </a:xfrm>
        </p:grpSpPr>
        <p:sp>
          <p:nvSpPr>
            <p:cNvPr id="1043" name="Oval 90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2828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7400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1972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654425" indent="31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s-CL" altLang="es-CL" sz="1275">
                <a:solidFill>
                  <a:srgbClr val="000000"/>
                </a:solidFill>
              </a:endParaRPr>
            </a:p>
          </p:txBody>
        </p:sp>
        <p:sp>
          <p:nvSpPr>
            <p:cNvPr id="1044" name="Arc 9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custGeom>
              <a:avLst/>
              <a:gdLst>
                <a:gd name="T0" fmla="*/ 0 w 10000"/>
                <a:gd name="T1" fmla="*/ 0 h 10000"/>
                <a:gd name="T2" fmla="*/ 0 w 10000"/>
                <a:gd name="T3" fmla="*/ 0 h 1000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000" h="10000" stroke="0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  <a:lnTo>
                    <a:pt x="5000" y="5000"/>
                  </a:lnTo>
                  <a:lnTo>
                    <a:pt x="5000" y="0"/>
                  </a:lnTo>
                  <a:close/>
                </a:path>
                <a:path w="10000" h="10000" fill="none">
                  <a:moveTo>
                    <a:pt x="5000" y="0"/>
                  </a:moveTo>
                  <a:cubicBezTo>
                    <a:pt x="7761" y="0"/>
                    <a:pt x="10000" y="2239"/>
                    <a:pt x="10000" y="5000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461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CL" sz="1350">
                <a:solidFill>
                  <a:srgbClr val="000000"/>
                </a:solidFill>
              </a:endParaRPr>
            </a:p>
          </p:txBody>
        </p:sp>
      </p:grpSp>
      <p:sp>
        <p:nvSpPr>
          <p:cNvPr id="1039" name="Rectangle 74"/>
          <p:cNvSpPr>
            <a:spLocks noChangeArrowheads="1"/>
          </p:cNvSpPr>
          <p:nvPr/>
        </p:nvSpPr>
        <p:spPr bwMode="auto">
          <a:xfrm>
            <a:off x="0" y="4914900"/>
            <a:ext cx="9144000" cy="228600"/>
          </a:xfrm>
          <a:prstGeom prst="rect">
            <a:avLst/>
          </a:prstGeom>
          <a:gradFill rotWithShape="1">
            <a:gsLst>
              <a:gs pos="0">
                <a:srgbClr val="C00000"/>
              </a:gs>
              <a:gs pos="52000">
                <a:srgbClr val="FF4001"/>
              </a:gs>
              <a:gs pos="91000">
                <a:srgbClr val="FFFFFF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67500" bIns="675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endParaRPr lang="es-CL" altLang="es-CL" sz="1200">
              <a:solidFill>
                <a:srgbClr val="FFFFFF"/>
              </a:solidFill>
            </a:endParaRPr>
          </a:p>
        </p:txBody>
      </p:sp>
      <p:sp>
        <p:nvSpPr>
          <p:cNvPr id="77" name="Footer Placeholder 33"/>
          <p:cNvSpPr txBox="1">
            <a:spLocks/>
          </p:cNvSpPr>
          <p:nvPr/>
        </p:nvSpPr>
        <p:spPr bwMode="gray">
          <a:xfrm>
            <a:off x="191691" y="4947048"/>
            <a:ext cx="5200650" cy="173060"/>
          </a:xfrm>
          <a:prstGeom prst="rect">
            <a:avLst/>
          </a:prstGeom>
          <a:noFill/>
        </p:spPr>
        <p:txBody>
          <a:bodyPr lIns="0" tIns="34258" rIns="68516" bIns="34258">
            <a:spAutoFit/>
          </a:bodyPr>
          <a:lstStyle>
            <a:defPPr>
              <a:defRPr lang="en-US"/>
            </a:defPPr>
            <a:lvl1pPr marL="0" algn="l" defTabSz="913569" rtl="0" eaLnBrk="1" latinLnBrk="0" hangingPunct="1">
              <a:defRPr lang="nl-NL"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6784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569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352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138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3920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0707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7489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273" algn="l" defTabSz="91356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675" dirty="0">
                <a:solidFill>
                  <a:srgbClr val="FFFFFF"/>
                </a:solidFill>
              </a:rPr>
              <a:t>VTR | REUNION PRIORIDADES ESTRATEGICAS G100</a:t>
            </a:r>
          </a:p>
        </p:txBody>
      </p:sp>
      <p:sp>
        <p:nvSpPr>
          <p:cNvPr id="78" name="Slide Number Placeholder 34"/>
          <p:cNvSpPr txBox="1">
            <a:spLocks/>
          </p:cNvSpPr>
          <p:nvPr/>
        </p:nvSpPr>
        <p:spPr bwMode="gray">
          <a:xfrm>
            <a:off x="8592742" y="4939695"/>
            <a:ext cx="450056" cy="173060"/>
          </a:xfrm>
          <a:prstGeom prst="rect">
            <a:avLst/>
          </a:prstGeom>
        </p:spPr>
        <p:txBody>
          <a:bodyPr lIns="68516" tIns="34258" rIns="0" bIns="34258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defTabSz="684610" fontAlgn="base">
              <a:spcBef>
                <a:spcPct val="0"/>
              </a:spcBef>
              <a:spcAft>
                <a:spcPct val="0"/>
              </a:spcAft>
              <a:defRPr/>
            </a:pPr>
            <a:fld id="{7631B1BA-E1B9-4347-92EA-543A57151E33}" type="slidenum">
              <a:rPr lang="en-US" altLang="es-CL" sz="675" smtClean="0">
                <a:solidFill>
                  <a:srgbClr val="7F7F7F"/>
                </a:solidFill>
              </a:rPr>
              <a:pPr algn="r" defTabSz="68461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altLang="es-CL" sz="675">
              <a:solidFill>
                <a:srgbClr val="7F7F7F"/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3"/>
          </p:nvPr>
        </p:nvSpPr>
        <p:spPr>
          <a:xfrm>
            <a:off x="114300" y="4745831"/>
            <a:ext cx="8354616" cy="176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685177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s-CL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103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</p:sldLayoutIdLst>
  <p:hf sldNum="0" hdr="0" dt="0"/>
  <p:txStyles>
    <p:titleStyle>
      <a:lvl1pPr algn="l" defTabSz="716756" rtl="0" eaLnBrk="0" fontAlgn="base" hangingPunct="0">
        <a:spcBef>
          <a:spcPct val="0"/>
        </a:spcBef>
        <a:spcAft>
          <a:spcPct val="0"/>
        </a:spcAft>
        <a:tabLst>
          <a:tab pos="289322" algn="l"/>
        </a:tabLst>
        <a:defRPr sz="1500" b="1">
          <a:solidFill>
            <a:srgbClr val="EA5B0C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716756" rtl="0" eaLnBrk="0" fontAlgn="base" hangingPunct="0">
        <a:spcBef>
          <a:spcPct val="0"/>
        </a:spcBef>
        <a:spcAft>
          <a:spcPct val="0"/>
        </a:spcAft>
        <a:tabLst>
          <a:tab pos="289322" algn="l"/>
        </a:tabLst>
        <a:defRPr sz="1500" b="1">
          <a:solidFill>
            <a:srgbClr val="EA5B0C"/>
          </a:solidFill>
          <a:latin typeface="Arial" charset="0"/>
          <a:ea typeface="Arial Unicode MS" panose="020B0604020202020204" pitchFamily="34" charset="-128"/>
          <a:cs typeface="Arial Unicode MS" panose="020B0604020202020204" pitchFamily="34" charset="-128"/>
        </a:defRPr>
      </a:lvl2pPr>
      <a:lvl3pPr algn="l" defTabSz="716756" rtl="0" eaLnBrk="0" fontAlgn="base" hangingPunct="0">
        <a:spcBef>
          <a:spcPct val="0"/>
        </a:spcBef>
        <a:spcAft>
          <a:spcPct val="0"/>
        </a:spcAft>
        <a:tabLst>
          <a:tab pos="289322" algn="l"/>
        </a:tabLst>
        <a:defRPr sz="1500" b="1">
          <a:solidFill>
            <a:srgbClr val="EA5B0C"/>
          </a:solidFill>
          <a:latin typeface="Arial" charset="0"/>
          <a:ea typeface="Arial Unicode MS" panose="020B0604020202020204" pitchFamily="34" charset="-128"/>
          <a:cs typeface="Arial Unicode MS" panose="020B0604020202020204" pitchFamily="34" charset="-128"/>
        </a:defRPr>
      </a:lvl3pPr>
      <a:lvl4pPr algn="l" defTabSz="716756" rtl="0" eaLnBrk="0" fontAlgn="base" hangingPunct="0">
        <a:spcBef>
          <a:spcPct val="0"/>
        </a:spcBef>
        <a:spcAft>
          <a:spcPct val="0"/>
        </a:spcAft>
        <a:tabLst>
          <a:tab pos="289322" algn="l"/>
        </a:tabLst>
        <a:defRPr sz="1500" b="1">
          <a:solidFill>
            <a:srgbClr val="EA5B0C"/>
          </a:solidFill>
          <a:latin typeface="Arial" charset="0"/>
          <a:ea typeface="Arial Unicode MS" panose="020B0604020202020204" pitchFamily="34" charset="-128"/>
          <a:cs typeface="Arial Unicode MS" panose="020B0604020202020204" pitchFamily="34" charset="-128"/>
        </a:defRPr>
      </a:lvl4pPr>
      <a:lvl5pPr algn="l" defTabSz="716756" rtl="0" eaLnBrk="0" fontAlgn="base" hangingPunct="0">
        <a:spcBef>
          <a:spcPct val="0"/>
        </a:spcBef>
        <a:spcAft>
          <a:spcPct val="0"/>
        </a:spcAft>
        <a:tabLst>
          <a:tab pos="289322" algn="l"/>
        </a:tabLst>
        <a:defRPr sz="1500" b="1">
          <a:solidFill>
            <a:srgbClr val="EA5B0C"/>
          </a:solidFill>
          <a:latin typeface="Arial" charset="0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366526" algn="l" defTabSz="717780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6pPr>
      <a:lvl7pPr marL="733052" algn="l" defTabSz="717780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7pPr>
      <a:lvl8pPr marL="1099577" algn="l" defTabSz="717780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8pPr>
      <a:lvl9pPr marL="1466103" algn="l" defTabSz="717780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tx2"/>
          </a:solidFill>
          <a:latin typeface="Arial" charset="0"/>
        </a:defRPr>
      </a:lvl9pPr>
    </p:titleStyle>
    <p:bodyStyle>
      <a:lvl1pPr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54781" indent="-153591"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65522" indent="-209550"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91729" indent="-123825"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600075" indent="-103585" algn="l" defTabSz="71675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601103" indent="-104358" algn="l" defTabSz="717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>
          <a:solidFill>
            <a:schemeClr val="tx1"/>
          </a:solidFill>
          <a:latin typeface="+mn-lt"/>
        </a:defRPr>
      </a:lvl6pPr>
      <a:lvl7pPr marL="601103" indent="-104358" algn="l" defTabSz="717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>
          <a:solidFill>
            <a:schemeClr val="tx1"/>
          </a:solidFill>
          <a:latin typeface="+mn-lt"/>
        </a:defRPr>
      </a:lvl7pPr>
      <a:lvl8pPr marL="601103" indent="-104358" algn="l" defTabSz="717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>
          <a:solidFill>
            <a:schemeClr val="tx1"/>
          </a:solidFill>
          <a:latin typeface="+mn-lt"/>
        </a:defRPr>
      </a:lvl8pPr>
      <a:lvl9pPr marL="601103" indent="-104358" algn="l" defTabSz="717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7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3305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1pPr>
      <a:lvl2pPr marL="366526" algn="l" defTabSz="73305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3052" algn="l" defTabSz="73305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099577" algn="l" defTabSz="73305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66103" algn="l" defTabSz="73305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32629" algn="l" defTabSz="73305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199155" algn="l" defTabSz="73305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65681" algn="l" defTabSz="73305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32207" algn="l" defTabSz="733052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Placeholder 1"/>
          <p:cNvSpPr txBox="1">
            <a:spLocks/>
          </p:cNvSpPr>
          <p:nvPr userDrawn="1"/>
        </p:nvSpPr>
        <p:spPr>
          <a:xfrm>
            <a:off x="233905" y="155800"/>
            <a:ext cx="7551941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>
                <a:solidFill>
                  <a:srgbClr val="3E3838"/>
                </a:solidFill>
              </a:rPr>
              <a:t>LLA PURPLE SLIDES </a:t>
            </a:r>
            <a:r>
              <a:rPr lang="mr-IN" sz="1800" dirty="0">
                <a:solidFill>
                  <a:srgbClr val="3E3838"/>
                </a:solidFill>
              </a:rPr>
              <a:t>–</a:t>
            </a:r>
            <a:r>
              <a:rPr lang="en-US" sz="1800" dirty="0">
                <a:solidFill>
                  <a:srgbClr val="3E3838"/>
                </a:solidFill>
              </a:rPr>
              <a:t> HR US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1060" y="116545"/>
            <a:ext cx="508960" cy="617891"/>
          </a:xfrm>
          <a:prstGeom prst="rect">
            <a:avLst/>
          </a:prstGeom>
          <a:effectLst/>
        </p:spPr>
      </p:pic>
      <p:sp>
        <p:nvSpPr>
          <p:cNvPr id="31" name="Rectangle 30"/>
          <p:cNvSpPr/>
          <p:nvPr userDrawn="1"/>
        </p:nvSpPr>
        <p:spPr>
          <a:xfrm>
            <a:off x="0" y="0"/>
            <a:ext cx="8401051" cy="754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E29475FC-A2AC-B348-A11F-C005BF53D6A4}"/>
              </a:ext>
            </a:extLst>
          </p:cNvPr>
          <p:cNvGrpSpPr/>
          <p:nvPr userDrawn="1"/>
        </p:nvGrpSpPr>
        <p:grpSpPr>
          <a:xfrm>
            <a:off x="129584" y="4857871"/>
            <a:ext cx="2254014" cy="237887"/>
            <a:chOff x="166856" y="6442435"/>
            <a:chExt cx="4854924" cy="317183"/>
          </a:xfrm>
        </p:grpSpPr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xmlns="" id="{8C3A518A-FBAE-1945-94AA-FAFC2042BAC9}"/>
                </a:ext>
              </a:extLst>
            </p:cNvPr>
            <p:cNvSpPr/>
            <p:nvPr userDrawn="1"/>
          </p:nvSpPr>
          <p:spPr>
            <a:xfrm>
              <a:off x="1395370" y="6442435"/>
              <a:ext cx="1148080" cy="317183"/>
            </a:xfrm>
            <a:prstGeom prst="roundRect">
              <a:avLst/>
            </a:prstGeom>
            <a:solidFill>
              <a:srgbClr val="FFA6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defTabSz="685800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xmlns="" id="{79E0E0F8-3AAA-1B44-8C46-EB623D8F8164}"/>
                </a:ext>
              </a:extLst>
            </p:cNvPr>
            <p:cNvSpPr/>
            <p:nvPr userDrawn="1"/>
          </p:nvSpPr>
          <p:spPr>
            <a:xfrm>
              <a:off x="3873700" y="6442435"/>
              <a:ext cx="1148080" cy="317183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defTabSz="685800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0" name="Rounded Rectangle 19">
              <a:extLst>
                <a:ext uri="{FF2B5EF4-FFF2-40B4-BE49-F238E27FC236}">
                  <a16:creationId xmlns:a16="http://schemas.microsoft.com/office/drawing/2014/main" xmlns="" id="{1AD2CCDB-C300-CF4A-BF3E-6B29076984AD}"/>
                </a:ext>
              </a:extLst>
            </p:cNvPr>
            <p:cNvSpPr/>
            <p:nvPr userDrawn="1"/>
          </p:nvSpPr>
          <p:spPr>
            <a:xfrm>
              <a:off x="2639027" y="6442435"/>
              <a:ext cx="1148080" cy="317183"/>
            </a:xfrm>
            <a:prstGeom prst="round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defTabSz="685800"/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1" name="Rounded Rectangle 20">
              <a:extLst>
                <a:ext uri="{FF2B5EF4-FFF2-40B4-BE49-F238E27FC236}">
                  <a16:creationId xmlns:a16="http://schemas.microsoft.com/office/drawing/2014/main" xmlns="" id="{BB07C9EB-D471-AA47-A577-2E6D56ACEC6F}"/>
                </a:ext>
              </a:extLst>
            </p:cNvPr>
            <p:cNvSpPr/>
            <p:nvPr userDrawn="1"/>
          </p:nvSpPr>
          <p:spPr>
            <a:xfrm>
              <a:off x="166856" y="6442435"/>
              <a:ext cx="1148080" cy="317183"/>
            </a:xfrm>
            <a:prstGeom prst="round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/>
            <a:lstStyle/>
            <a:p>
              <a:pPr algn="ctr" defTabSz="685800"/>
              <a:endParaRPr lang="en-US" sz="1200">
                <a:solidFill>
                  <a:srgbClr val="FFFFFF"/>
                </a:solidFill>
              </a:endParaRPr>
            </a:p>
          </p:txBody>
        </p:sp>
      </p:grpSp>
      <p:cxnSp>
        <p:nvCxnSpPr>
          <p:cNvPr id="27" name="Straight Connector 26"/>
          <p:cNvCxnSpPr/>
          <p:nvPr userDrawn="1"/>
        </p:nvCxnSpPr>
        <p:spPr>
          <a:xfrm>
            <a:off x="0" y="4920398"/>
            <a:ext cx="9144000" cy="0"/>
          </a:xfrm>
          <a:prstGeom prst="line">
            <a:avLst/>
          </a:prstGeom>
          <a:ln w="38100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 userDrawn="1"/>
        </p:nvSpPr>
        <p:spPr>
          <a:xfrm>
            <a:off x="1" y="4931476"/>
            <a:ext cx="9143999" cy="21202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67500" bIns="67500" rtlCol="0" anchor="ctr"/>
          <a:lstStyle/>
          <a:p>
            <a:pPr algn="ctr" defTabSz="685800"/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42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85" r:id="rId25"/>
    <p:sldLayoutId id="2147483786" r:id="rId26"/>
    <p:sldLayoutId id="2147483787" r:id="rId27"/>
  </p:sldLayoutIdLst>
  <p:hf sldNum="0" hdr="0" ft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61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4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884" y="88474"/>
            <a:ext cx="7200000" cy="39433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lvl="0"/>
            <a:r>
              <a:rPr lang="en-US" dirty="0" smtClean="0"/>
              <a:t>CLICK TO EDIT MASTER TITLE TEX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7884" y="535357"/>
            <a:ext cx="7226609" cy="198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SUBTITLE TEXT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91631" y="4947189"/>
            <a:ext cx="5200985" cy="220102"/>
          </a:xfrm>
          <a:prstGeom prst="rect">
            <a:avLst/>
          </a:prstGeom>
          <a:noFill/>
        </p:spPr>
        <p:txBody>
          <a:bodyPr wrap="square" lIns="0" tIns="45677" rIns="91355" bIns="45677" rtlCol="0">
            <a:spAutoFit/>
          </a:bodyPr>
          <a:lstStyle>
            <a:lvl1pPr>
              <a:defRPr lang="nl-NL" sz="83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INSERT PRESENTATION TITLE  |  INSERT NAM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593016" y="4916261"/>
            <a:ext cx="449693" cy="220102"/>
          </a:xfrm>
          <a:prstGeom prst="rect">
            <a:avLst/>
          </a:prstGeom>
        </p:spPr>
        <p:txBody>
          <a:bodyPr vert="horz" wrap="square" lIns="91355" tIns="45677" rIns="0" bIns="45677" rtlCol="0" anchor="ctr">
            <a:spAutoFit/>
          </a:bodyPr>
          <a:lstStyle>
            <a:lvl1pPr algn="r">
              <a:defRPr sz="831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6560528" y="4943475"/>
            <a:ext cx="2057400" cy="180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31">
                <a:solidFill>
                  <a:schemeClr val="bg1"/>
                </a:solidFill>
              </a:defRPr>
            </a:lvl1pPr>
          </a:lstStyle>
          <a:p>
            <a:pPr algn="r"/>
            <a:fld id="{717473CF-BBB0-9F47-BB0D-9452CE09BCF5}" type="datetime2">
              <a:rPr lang="en-GB" smtClean="0">
                <a:solidFill>
                  <a:srgbClr val="FFFFFF"/>
                </a:solidFill>
              </a:rPr>
              <a:pPr algn="r"/>
              <a:t>Tuesday, 17 December 2019</a:t>
            </a:fld>
            <a:r>
              <a:rPr lang="en-GB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35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43209" rtl="0" eaLnBrk="1" latinLnBrk="0" hangingPunct="1">
        <a:lnSpc>
          <a:spcPts val="3101"/>
        </a:lnSpc>
        <a:spcBef>
          <a:spcPct val="0"/>
        </a:spcBef>
        <a:buNone/>
        <a:defRPr lang="en-US" sz="2216" b="0" i="0" kern="1200" baseline="0" dirty="0">
          <a:solidFill>
            <a:schemeClr val="bg1"/>
          </a:solidFill>
          <a:latin typeface="Arial MT Light" charset="0"/>
          <a:ea typeface="Arial MT Light" charset="0"/>
          <a:cs typeface="Arial MT Light" charset="0"/>
        </a:defRPr>
      </a:lvl1pPr>
    </p:titleStyle>
    <p:bodyStyle>
      <a:lvl1pPr marL="0" indent="0" algn="l" defTabSz="843209" rtl="0" eaLnBrk="1" latinLnBrk="0" hangingPunct="1">
        <a:lnSpc>
          <a:spcPct val="100000"/>
        </a:lnSpc>
        <a:spcBef>
          <a:spcPts val="1108"/>
        </a:spcBef>
        <a:spcAft>
          <a:spcPts val="277"/>
        </a:spcAft>
        <a:buFontTx/>
        <a:buNone/>
        <a:defRPr lang="en-US" sz="1292" b="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27953" indent="-162515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•"/>
        <a:defRPr lang="en-US" sz="1661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4818" indent="-162687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–"/>
        <a:defRPr lang="en-US" sz="1477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97623" indent="-162687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–"/>
        <a:defRPr lang="en-US" sz="1292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97623" indent="-19034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None/>
        <a:defRPr lang="en-GB" sz="1292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318822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0427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2031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3635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1605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20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4812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641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8021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2962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1230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2832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los estilos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B32F29AA-AB89-D04A-8F0E-C81F03BAD0AB}" type="datetimeFigureOut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685800"/>
              <a:t>17/12/2019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57E1D99A-C14D-4145-B4C9-0D5458F467C4}" type="slidenum">
              <a:rPr lang="es-ES_tradnl" smtClean="0">
                <a:solidFill>
                  <a:prstClr val="black">
                    <a:tint val="75000"/>
                  </a:prstClr>
                </a:solidFill>
              </a:rPr>
              <a:pPr defTabSz="685800"/>
              <a:t>‹Nº›</a:t>
            </a:fld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963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b="1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61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87884" y="88474"/>
            <a:ext cx="7200000" cy="394339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pPr lvl="0"/>
            <a:r>
              <a:rPr lang="en-US" dirty="0" smtClean="0"/>
              <a:t>CLICK TO EDIT MASTER TITLE TEX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87884" y="535357"/>
            <a:ext cx="7226609" cy="198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SUBTITLE TEXT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191631" y="4947189"/>
            <a:ext cx="5200985" cy="220102"/>
          </a:xfrm>
          <a:prstGeom prst="rect">
            <a:avLst/>
          </a:prstGeom>
          <a:noFill/>
        </p:spPr>
        <p:txBody>
          <a:bodyPr wrap="square" lIns="0" tIns="45677" rIns="91355" bIns="45677" rtlCol="0">
            <a:spAutoFit/>
          </a:bodyPr>
          <a:lstStyle>
            <a:lvl1pPr>
              <a:defRPr lang="nl-NL" sz="831">
                <a:solidFill>
                  <a:schemeClr val="bg1"/>
                </a:solidFill>
              </a:defRPr>
            </a:lvl1pPr>
          </a:lstStyle>
          <a:p>
            <a:r>
              <a:rPr lang="en-US" dirty="0" smtClean="0">
                <a:solidFill>
                  <a:srgbClr val="FFFFFF"/>
                </a:solidFill>
              </a:rPr>
              <a:t>INSERT PRESENTATION TITLE  |  INSERT NAM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593016" y="4916261"/>
            <a:ext cx="449693" cy="220102"/>
          </a:xfrm>
          <a:prstGeom prst="rect">
            <a:avLst/>
          </a:prstGeom>
        </p:spPr>
        <p:txBody>
          <a:bodyPr vert="horz" wrap="square" lIns="91355" tIns="45677" rIns="0" bIns="45677" rtlCol="0" anchor="ctr">
            <a:spAutoFit/>
          </a:bodyPr>
          <a:lstStyle>
            <a:lvl1pPr algn="r">
              <a:defRPr sz="831">
                <a:solidFill>
                  <a:schemeClr val="bg1"/>
                </a:solidFill>
              </a:defRPr>
            </a:lvl1pPr>
          </a:lstStyle>
          <a:p>
            <a:fld id="{496097A3-845D-4C79-9B10-713A18711759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6560528" y="4943475"/>
            <a:ext cx="2057400" cy="1809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31">
                <a:solidFill>
                  <a:schemeClr val="bg1"/>
                </a:solidFill>
              </a:defRPr>
            </a:lvl1pPr>
          </a:lstStyle>
          <a:p>
            <a:pPr algn="r"/>
            <a:fld id="{717473CF-BBB0-9F47-BB0D-9452CE09BCF5}" type="datetime2">
              <a:rPr lang="en-GB" smtClean="0">
                <a:solidFill>
                  <a:srgbClr val="FFFFFF"/>
                </a:solidFill>
              </a:rPr>
              <a:pPr algn="r"/>
              <a:t>Tuesday, 17 December 2019</a:t>
            </a:fld>
            <a:r>
              <a:rPr lang="en-GB" smtClean="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16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43209" rtl="0" eaLnBrk="1" latinLnBrk="0" hangingPunct="1">
        <a:lnSpc>
          <a:spcPts val="3101"/>
        </a:lnSpc>
        <a:spcBef>
          <a:spcPct val="0"/>
        </a:spcBef>
        <a:buNone/>
        <a:defRPr lang="en-US" sz="2216" b="0" i="0" kern="1200" baseline="0" dirty="0">
          <a:solidFill>
            <a:schemeClr val="bg1"/>
          </a:solidFill>
          <a:latin typeface="Arial MT Light" charset="0"/>
          <a:ea typeface="Arial MT Light" charset="0"/>
          <a:cs typeface="Arial MT Light" charset="0"/>
        </a:defRPr>
      </a:lvl1pPr>
    </p:titleStyle>
    <p:bodyStyle>
      <a:lvl1pPr marL="0" indent="0" algn="l" defTabSz="843209" rtl="0" eaLnBrk="1" latinLnBrk="0" hangingPunct="1">
        <a:lnSpc>
          <a:spcPct val="100000"/>
        </a:lnSpc>
        <a:spcBef>
          <a:spcPts val="1108"/>
        </a:spcBef>
        <a:spcAft>
          <a:spcPts val="277"/>
        </a:spcAft>
        <a:buFontTx/>
        <a:buNone/>
        <a:defRPr lang="en-US" sz="1292" b="0" kern="1200" dirty="0" smtClean="0">
          <a:solidFill>
            <a:schemeClr val="bg1"/>
          </a:solidFill>
          <a:latin typeface="+mn-lt"/>
          <a:ea typeface="+mn-ea"/>
          <a:cs typeface="+mn-cs"/>
        </a:defRPr>
      </a:lvl1pPr>
      <a:lvl2pPr marL="327953" indent="-162515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•"/>
        <a:defRPr lang="en-US" sz="1661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64818" indent="-162687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–"/>
        <a:defRPr lang="en-US" sz="1477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97623" indent="-162687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Char char="–"/>
        <a:defRPr lang="en-US" sz="1292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97623" indent="-19034" algn="l" defTabSz="843209" rtl="0" eaLnBrk="1" latinLnBrk="0" hangingPunct="1">
        <a:lnSpc>
          <a:spcPct val="100000"/>
        </a:lnSpc>
        <a:spcBef>
          <a:spcPts val="277"/>
        </a:spcBef>
        <a:spcAft>
          <a:spcPts val="277"/>
        </a:spcAft>
        <a:buClrTx/>
        <a:buSzPct val="100000"/>
        <a:buFont typeface="Arial" pitchFamily="34" charset="0"/>
        <a:buNone/>
        <a:defRPr lang="en-GB" sz="1292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318822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0427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2031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3635" indent="-210803" algn="l" defTabSz="843209" rtl="0" eaLnBrk="1" latinLnBrk="0" hangingPunct="1">
        <a:spcBef>
          <a:spcPct val="20000"/>
        </a:spcBef>
        <a:buFont typeface="Arial" pitchFamily="34" charset="0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1605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20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4812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641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8021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29629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1230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2832" algn="l" defTabSz="843209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36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image" Target="../media/image23.emf"/><Relationship Id="rId7" Type="http://schemas.openxmlformats.org/officeDocument/2006/relationships/image" Target="../media/image2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26.emf"/><Relationship Id="rId5" Type="http://schemas.openxmlformats.org/officeDocument/2006/relationships/image" Target="../media/image25.emf"/><Relationship Id="rId10" Type="http://schemas.openxmlformats.org/officeDocument/2006/relationships/image" Target="../media/image30.emf"/><Relationship Id="rId4" Type="http://schemas.openxmlformats.org/officeDocument/2006/relationships/image" Target="../media/image24.emf"/><Relationship Id="rId9" Type="http://schemas.openxmlformats.org/officeDocument/2006/relationships/image" Target="../media/image29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/>
          <p:cNvSpPr txBox="1"/>
          <p:nvPr/>
        </p:nvSpPr>
        <p:spPr>
          <a:xfrm>
            <a:off x="544674" y="2924742"/>
            <a:ext cx="3068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s-ES_tradnl" sz="1800" b="1" spc="-113" dirty="0">
                <a:solidFill>
                  <a:prstClr val="white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Guillermo Ponce</a:t>
            </a:r>
          </a:p>
          <a:p>
            <a:pPr defTabSz="685800"/>
            <a:r>
              <a:rPr lang="es-ES_tradnl" sz="1800" dirty="0">
                <a:solidFill>
                  <a:prstClr val="white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CEO VTR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503731" y="2047578"/>
            <a:ext cx="77638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s-CL" sz="3600" b="1" dirty="0" smtClean="0">
                <a:solidFill>
                  <a:prstClr val="white"/>
                </a:solidFill>
                <a:ea typeface="Arial" charset="0"/>
                <a:cs typeface="Arial" charset="0"/>
              </a:rPr>
              <a:t>Sostenibilidad: ¿Objetivo o restricción? </a:t>
            </a:r>
            <a:endParaRPr lang="es-CL" sz="3600" b="1" dirty="0">
              <a:solidFill>
                <a:prstClr val="white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381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10274"/>
            <a:ext cx="9144000" cy="5143500"/>
          </a:xfrm>
          <a:prstGeom prst="rect">
            <a:avLst/>
          </a:prstGeom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xmlns="" id="{C7FE5406-B8DD-5746-968F-68F7BDB4C9F9}"/>
              </a:ext>
            </a:extLst>
          </p:cNvPr>
          <p:cNvSpPr/>
          <p:nvPr/>
        </p:nvSpPr>
        <p:spPr>
          <a:xfrm>
            <a:off x="0" y="3896764"/>
            <a:ext cx="8093289" cy="1292662"/>
          </a:xfrm>
          <a:prstGeom prst="rect">
            <a:avLst/>
          </a:prstGeom>
          <a:solidFill>
            <a:schemeClr val="tx1">
              <a:alpha val="36000"/>
            </a:schemeClr>
          </a:solidFill>
        </p:spPr>
        <p:txBody>
          <a:bodyPr wrap="square">
            <a:spAutoFit/>
          </a:bodyPr>
          <a:lstStyle/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es-CL" sz="1200" b="1" dirty="0" smtClean="0">
                <a:solidFill>
                  <a:srgbClr val="FFFFFF"/>
                </a:solidFill>
              </a:rPr>
              <a:t>El </a:t>
            </a:r>
            <a:r>
              <a:rPr lang="es-CL" sz="1200" b="1" dirty="0">
                <a:solidFill>
                  <a:srgbClr val="FFFFFF"/>
                </a:solidFill>
              </a:rPr>
              <a:t>compromiso de los empleados </a:t>
            </a:r>
            <a:r>
              <a:rPr lang="es-CL" sz="1200" b="1" dirty="0" smtClean="0">
                <a:solidFill>
                  <a:srgbClr val="FFFFFF"/>
                </a:solidFill>
              </a:rPr>
              <a:t>tiene un </a:t>
            </a:r>
            <a:r>
              <a:rPr lang="es-CL" sz="1200" b="1" dirty="0">
                <a:solidFill>
                  <a:srgbClr val="FFFFFF"/>
                </a:solidFill>
              </a:rPr>
              <a:t>impacto significativo en </a:t>
            </a:r>
            <a:r>
              <a:rPr lang="es-CL" sz="1200" b="1" dirty="0" smtClean="0">
                <a:solidFill>
                  <a:srgbClr val="FFFFFF"/>
                </a:solidFill>
              </a:rPr>
              <a:t>su desempeño*</a:t>
            </a: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es-CL" sz="1200" b="1" dirty="0" smtClean="0">
                <a:solidFill>
                  <a:srgbClr val="FFFFFF"/>
                </a:solidFill>
              </a:rPr>
              <a:t>Las empresas con trabajadores comprometidos tienen un </a:t>
            </a:r>
            <a:r>
              <a:rPr lang="es-CL" sz="1200" b="1" dirty="0">
                <a:solidFill>
                  <a:srgbClr val="FFFFFF"/>
                </a:solidFill>
              </a:rPr>
              <a:t>mayor retorno de activos (ROA</a:t>
            </a:r>
            <a:r>
              <a:rPr lang="es-CL" sz="1200" b="1" dirty="0" smtClean="0">
                <a:solidFill>
                  <a:srgbClr val="FFFFFF"/>
                </a:solidFill>
              </a:rPr>
              <a:t>) y mejor rentabilidad**</a:t>
            </a: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r>
              <a:rPr lang="es-CL" sz="1200" b="1" dirty="0" smtClean="0">
                <a:solidFill>
                  <a:srgbClr val="FFFFFF"/>
                </a:solidFill>
              </a:rPr>
              <a:t>Las variables que más influyen en el compromiso son: el ambiente de trabajo y la relación del equipo***</a:t>
            </a:r>
          </a:p>
          <a:p>
            <a:pPr marL="171450" indent="-171450" defTabSz="685800">
              <a:buFont typeface="Arial" panose="020B0604020202020204" pitchFamily="34" charset="0"/>
              <a:buChar char="•"/>
            </a:pPr>
            <a:endParaRPr lang="es-CL" sz="1200" b="1" dirty="0" smtClean="0">
              <a:solidFill>
                <a:srgbClr val="FFFFFF"/>
              </a:solidFill>
            </a:endParaRPr>
          </a:p>
          <a:p>
            <a:pPr defTabSz="685800"/>
            <a:r>
              <a:rPr lang="es-CL" sz="600" b="1" dirty="0" smtClean="0">
                <a:solidFill>
                  <a:srgbClr val="FFFFFF"/>
                </a:solidFill>
              </a:rPr>
              <a:t>*J</a:t>
            </a:r>
            <a:r>
              <a:rPr lang="es-CL" sz="600" b="1" dirty="0">
                <a:solidFill>
                  <a:srgbClr val="FFFFFF"/>
                </a:solidFill>
              </a:rPr>
              <a:t>., </a:t>
            </a:r>
            <a:r>
              <a:rPr lang="es-CL" sz="600" b="1" dirty="0" err="1" smtClean="0">
                <a:solidFill>
                  <a:srgbClr val="FFFFFF"/>
                </a:solidFill>
              </a:rPr>
              <a:t>Anitha</a:t>
            </a:r>
            <a:r>
              <a:rPr lang="es-CL" sz="600" b="1" dirty="0" smtClean="0">
                <a:solidFill>
                  <a:srgbClr val="FFFFFF"/>
                </a:solidFill>
              </a:rPr>
              <a:t>, </a:t>
            </a:r>
            <a:r>
              <a:rPr lang="en-US" sz="600" b="1" dirty="0" smtClean="0">
                <a:solidFill>
                  <a:srgbClr val="FFFFFF"/>
                </a:solidFill>
              </a:rPr>
              <a:t>Determinants </a:t>
            </a:r>
            <a:r>
              <a:rPr lang="en-US" sz="600" b="1" dirty="0">
                <a:solidFill>
                  <a:srgbClr val="FFFFFF"/>
                </a:solidFill>
              </a:rPr>
              <a:t>of employee engagement and their impact on employee </a:t>
            </a:r>
            <a:r>
              <a:rPr lang="en-US" sz="600" b="1" dirty="0" smtClean="0">
                <a:solidFill>
                  <a:srgbClr val="FFFFFF"/>
                </a:solidFill>
              </a:rPr>
              <a:t>performance</a:t>
            </a:r>
            <a:endParaRPr lang="en-US" sz="600" b="1" dirty="0" smtClean="0">
              <a:solidFill>
                <a:schemeClr val="bg1"/>
              </a:solidFill>
            </a:endParaRPr>
          </a:p>
          <a:p>
            <a:r>
              <a:rPr lang="en-US" sz="600" dirty="0" smtClean="0">
                <a:solidFill>
                  <a:schemeClr val="bg1"/>
                </a:solidFill>
                <a:latin typeface="OpenSansRegular"/>
              </a:rPr>
              <a:t>**Macey</a:t>
            </a:r>
            <a:r>
              <a:rPr lang="en-US" sz="600" dirty="0">
                <a:solidFill>
                  <a:schemeClr val="bg1"/>
                </a:solidFill>
                <a:latin typeface="OpenSansRegular"/>
              </a:rPr>
              <a:t>, W. H., &amp; Schneider, B. (2008). The meaning of employee engagement. Industrial and Organizational </a:t>
            </a:r>
            <a:r>
              <a:rPr lang="en-US" sz="600" dirty="0" smtClean="0">
                <a:solidFill>
                  <a:schemeClr val="bg1"/>
                </a:solidFill>
                <a:latin typeface="OpenSansRegular"/>
              </a:rPr>
              <a:t>Psychology</a:t>
            </a:r>
          </a:p>
          <a:p>
            <a:r>
              <a:rPr lang="en-US" sz="600" dirty="0" smtClean="0">
                <a:solidFill>
                  <a:schemeClr val="bg1"/>
                </a:solidFill>
                <a:latin typeface="OpenSansRegular"/>
              </a:rPr>
              <a:t>***Truss, C, Employee </a:t>
            </a:r>
            <a:r>
              <a:rPr lang="en-US" sz="600" dirty="0">
                <a:solidFill>
                  <a:schemeClr val="bg1"/>
                </a:solidFill>
                <a:latin typeface="OpenSansRegular"/>
              </a:rPr>
              <a:t>engagement, </a:t>
            </a:r>
            <a:r>
              <a:rPr lang="en-US" sz="600" dirty="0" err="1">
                <a:solidFill>
                  <a:schemeClr val="bg1"/>
                </a:solidFill>
                <a:latin typeface="OpenSansRegular"/>
              </a:rPr>
              <a:t>organisational</a:t>
            </a:r>
            <a:r>
              <a:rPr lang="en-US" sz="600" dirty="0">
                <a:solidFill>
                  <a:schemeClr val="bg1"/>
                </a:solidFill>
                <a:latin typeface="OpenSansRegular"/>
              </a:rPr>
              <a:t> performance and individual well-being: exploring the evidence, developing the </a:t>
            </a:r>
            <a:r>
              <a:rPr lang="en-US" sz="600" dirty="0" smtClean="0">
                <a:solidFill>
                  <a:schemeClr val="bg1"/>
                </a:solidFill>
                <a:latin typeface="OpenSansRegular"/>
              </a:rPr>
              <a:t>theory</a:t>
            </a:r>
            <a:endParaRPr lang="es-CL" sz="1200" b="1" dirty="0">
              <a:solidFill>
                <a:srgbClr val="FFFFFF"/>
              </a:solidFill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C659C50A-3D7E-7241-8393-EE5A55781184}"/>
              </a:ext>
            </a:extLst>
          </p:cNvPr>
          <p:cNvSpPr/>
          <p:nvPr/>
        </p:nvSpPr>
        <p:spPr>
          <a:xfrm>
            <a:off x="203200" y="203971"/>
            <a:ext cx="8235176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s-CL" sz="21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GAGEMENT DE LARGO PLAZO ….POR </a:t>
            </a:r>
            <a:r>
              <a:rPr lang="es-CL" sz="21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QUÉ </a:t>
            </a:r>
            <a:endParaRPr lang="es-CL" sz="2100" b="1" dirty="0">
              <a:solidFill>
                <a:schemeClr val="bg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5221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fecha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315F80CF-B076-F04C-8770-B8A09243D5BC}" type="datetime2">
              <a:rPr lang="en-GB" sz="600">
                <a:solidFill>
                  <a:srgbClr val="FFFFFF"/>
                </a:solidFill>
              </a:rPr>
              <a:pPr algn="r"/>
              <a:t>Tuesday, 17 December 2019</a:t>
            </a:fld>
            <a:r>
              <a:rPr lang="en-GB" sz="60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xmlns="" id="{CB0F7A74-5945-4345-98B1-E9173297C8FC}"/>
              </a:ext>
            </a:extLst>
          </p:cNvPr>
          <p:cNvSpPr/>
          <p:nvPr/>
        </p:nvSpPr>
        <p:spPr>
          <a:xfrm>
            <a:off x="6167008" y="-329895"/>
            <a:ext cx="2684657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FFFFFF"/>
                </a:solidFill>
              </a:rPr>
              <a:t>Cumpleaños del colaborador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FFFFFF"/>
                </a:solidFill>
              </a:rPr>
              <a:t>Cumpleaños del </a:t>
            </a:r>
            <a:r>
              <a:rPr lang="es-CL" dirty="0" err="1">
                <a:solidFill>
                  <a:srgbClr val="FFFFFF"/>
                </a:solidFill>
              </a:rPr>
              <a:t>hij</a:t>
            </a:r>
            <a:r>
              <a:rPr lang="es-CL" dirty="0">
                <a:solidFill>
                  <a:srgbClr val="FFFFFF"/>
                </a:solidFill>
              </a:rPr>
              <a:t>@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s-CL" dirty="0">
              <a:solidFill>
                <a:srgbClr val="FFFFFF"/>
              </a:solidFill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FFFFFF"/>
                </a:solidFill>
              </a:rPr>
              <a:t>Vive Flexible (tiempo libre para elegir)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s-CL" dirty="0">
              <a:solidFill>
                <a:srgbClr val="FFFFFF"/>
              </a:solidFill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FFFFFF"/>
                </a:solidFill>
              </a:rPr>
              <a:t>Sala de lactancia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s-CL" dirty="0">
              <a:solidFill>
                <a:srgbClr val="FFFFFF"/>
              </a:solidFill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FFFFFF"/>
                </a:solidFill>
              </a:rPr>
              <a:t>Mamá Vuelve tranquila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s-CL" dirty="0">
              <a:solidFill>
                <a:srgbClr val="FFFFFF"/>
              </a:solidFill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s-CL" dirty="0">
                <a:solidFill>
                  <a:srgbClr val="FFFFFF"/>
                </a:solidFill>
              </a:rPr>
              <a:t>Papá vuelve tranquilo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s-CL" dirty="0">
              <a:solidFill>
                <a:srgbClr val="FFFFFF"/>
              </a:solidFill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6E57D018-739A-2042-ACB5-426D5B30BCB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3" name="CuadroTexto 22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279838" y="285694"/>
            <a:ext cx="3928383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defTabSz="685800"/>
            <a:r>
              <a:rPr lang="es-CL" sz="18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REEMOS EN LA FLEXIBILIDAD </a:t>
            </a:r>
            <a:r>
              <a:rPr lang="es-CL" sz="1800" b="1" dirty="0" smtClean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… </a:t>
            </a:r>
            <a:endParaRPr lang="es-CL" sz="1800" b="1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5" name="CuadroTexto 14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1346786" y="3080924"/>
            <a:ext cx="2085975" cy="2308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/>
            <a:r>
              <a:rPr lang="es-CL" sz="15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AMBIO DE CASA</a:t>
            </a: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106886" y="2241470"/>
            <a:ext cx="228288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/>
            <a:r>
              <a:rPr lang="es-CL" sz="18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s-CL" sz="15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ELEBRA TU CUMPLEAÑOS Y EL DE TUS HIJOS</a:t>
            </a: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2393130" y="3550813"/>
            <a:ext cx="1612429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/>
            <a:r>
              <a:rPr lang="es-CL" sz="15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MÁ VUELVE TRANQUILA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6146288" y="3666229"/>
            <a:ext cx="2085975" cy="2308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/>
            <a:r>
              <a:rPr lang="es-CL" sz="15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ALA DE LACTANCIA</a:t>
            </a:r>
          </a:p>
        </p:txBody>
      </p:sp>
      <p:sp>
        <p:nvSpPr>
          <p:cNvPr id="16" name="CuadroTexto 15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7929318" y="2908639"/>
            <a:ext cx="1642631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/>
            <a:r>
              <a:rPr lang="es-CL" sz="15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ARENTAL LEAVE</a:t>
            </a: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2567774" y="1779805"/>
            <a:ext cx="5319223" cy="120032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 defTabSz="685800"/>
            <a:r>
              <a:rPr lang="es-CL" sz="36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VIVE FLEXIBLE</a:t>
            </a:r>
          </a:p>
          <a:p>
            <a:pPr algn="ctr" defTabSz="685800"/>
            <a:r>
              <a:rPr lang="es-CL" sz="24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ACK DE VACACIONES</a:t>
            </a:r>
          </a:p>
          <a:p>
            <a:pPr defTabSz="685800"/>
            <a:endParaRPr lang="es-CL" sz="1800" b="1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473915" y="1479955"/>
            <a:ext cx="1154162" cy="62324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defTabSz="685800"/>
            <a:r>
              <a:rPr lang="es-CL" sz="4050" b="1" dirty="0" smtClean="0">
                <a:solidFill>
                  <a:srgbClr val="FFFFFF"/>
                </a:solidFill>
              </a:rPr>
              <a:t>2000</a:t>
            </a:r>
            <a:endParaRPr lang="es-CL" sz="4050" b="1" dirty="0">
              <a:solidFill>
                <a:srgbClr val="FFFFFF"/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7655182" y="1604436"/>
            <a:ext cx="1154162" cy="62324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defTabSz="685800"/>
            <a:r>
              <a:rPr lang="es-CL" sz="4050" b="1" dirty="0">
                <a:solidFill>
                  <a:srgbClr val="FFFFFF"/>
                </a:solidFill>
              </a:rPr>
              <a:t>2019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1815437" y="3538704"/>
            <a:ext cx="1565426" cy="3231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/>
            <a:r>
              <a:rPr lang="es-CL" sz="2100" b="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4305128" y="3886893"/>
            <a:ext cx="1622937" cy="4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/>
            <a:r>
              <a:rPr lang="es-CL" sz="1500" b="1" dirty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APÁ VUELVE TRANQUILO</a:t>
            </a: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xmlns="" id="{CE5533DC-C925-AE40-868C-E2C669721316}"/>
              </a:ext>
            </a:extLst>
          </p:cNvPr>
          <p:cNvSpPr txBox="1"/>
          <p:nvPr/>
        </p:nvSpPr>
        <p:spPr>
          <a:xfrm>
            <a:off x="6375247" y="4684847"/>
            <a:ext cx="2475229" cy="276999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/>
          <a:p>
            <a:pPr defTabSz="685800"/>
            <a:r>
              <a:rPr lang="es-CL" sz="1800" b="1" dirty="0" smtClean="0">
                <a:solidFill>
                  <a:srgbClr val="FFFFFF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… Y VAMOS POR MÁS</a:t>
            </a:r>
            <a:endParaRPr lang="es-CL" sz="1800" b="1" dirty="0">
              <a:solidFill>
                <a:srgbClr val="FFFFFF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7100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4" name="Marcador de fecha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315F80CF-B076-F04C-8770-B8A09243D5BC}" type="datetime2">
              <a:rPr lang="en-GB" sz="600">
                <a:solidFill>
                  <a:srgbClr val="FFFFFF"/>
                </a:solidFill>
              </a:rPr>
              <a:pPr algn="r"/>
              <a:t>Tuesday, 17 December 2019</a:t>
            </a:fld>
            <a:r>
              <a:rPr lang="en-GB" sz="60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505842" y="1242544"/>
            <a:ext cx="746853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/>
            <a:r>
              <a:rPr lang="es-CL" sz="1800" b="1" dirty="0" smtClean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…Y debe </a:t>
            </a:r>
            <a:r>
              <a:rPr lang="es-CL" sz="1800" b="1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r con </a:t>
            </a:r>
            <a:r>
              <a:rPr lang="es-CL" sz="1800" b="1" dirty="0" smtClean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 rol </a:t>
            </a:r>
            <a:r>
              <a:rPr lang="es-CL" sz="1800" b="1" dirty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partido entre </a:t>
            </a:r>
            <a:r>
              <a:rPr lang="es-CL" sz="1800" b="1" dirty="0" smtClean="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odos</a:t>
            </a:r>
            <a:endParaRPr lang="es-CL" sz="1800" b="1" dirty="0">
              <a:solidFill>
                <a:schemeClr val="bg1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0" name="Rectángulo redondeado 9">
            <a:extLst>
              <a:ext uri="{FF2B5EF4-FFF2-40B4-BE49-F238E27FC236}">
                <a16:creationId xmlns:a16="http://schemas.microsoft.com/office/drawing/2014/main" xmlns="" id="{FDEAA8B8-9141-1242-AB82-F1487A61B0D0}"/>
              </a:ext>
            </a:extLst>
          </p:cNvPr>
          <p:cNvSpPr/>
          <p:nvPr/>
        </p:nvSpPr>
        <p:spPr>
          <a:xfrm>
            <a:off x="2175359" y="3762267"/>
            <a:ext cx="6689672" cy="953410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es-CL" sz="24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eneficio Parental Leave</a:t>
            </a:r>
          </a:p>
          <a:p>
            <a:pPr algn="ctr" defTabSz="685800"/>
            <a:r>
              <a:rPr lang="es-CL" sz="1500" b="1" dirty="0">
                <a:solidFill>
                  <a:schemeClr val="bg1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odos los </a:t>
            </a:r>
            <a:r>
              <a:rPr lang="es-CL" sz="1500" b="1" dirty="0">
                <a:solidFill>
                  <a:schemeClr val="bg1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p</a:t>
            </a:r>
            <a:r>
              <a:rPr lang="es-CL" sz="1500" b="1" dirty="0" smtClean="0">
                <a:solidFill>
                  <a:schemeClr val="bg1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adres </a:t>
            </a:r>
            <a:r>
              <a:rPr lang="es-CL" sz="1500" b="1" dirty="0">
                <a:solidFill>
                  <a:schemeClr val="bg1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tendrán 8 semanas de permiso pagado para que puedan estar cerca de sus hijos y </a:t>
            </a:r>
            <a:r>
              <a:rPr lang="es-CL" sz="1500" b="1" dirty="0" smtClean="0">
                <a:solidFill>
                  <a:schemeClr val="bg1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familia</a:t>
            </a:r>
            <a:endParaRPr lang="es-CL" b="1" dirty="0">
              <a:solidFill>
                <a:schemeClr val="bg1"/>
              </a:solidFill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xmlns="" id="{07CCE638-9622-F845-8424-83B05AFE39ED}"/>
              </a:ext>
            </a:extLst>
          </p:cNvPr>
          <p:cNvSpPr txBox="1"/>
          <p:nvPr/>
        </p:nvSpPr>
        <p:spPr>
          <a:xfrm>
            <a:off x="82782" y="385830"/>
            <a:ext cx="5437413" cy="612934"/>
          </a:xfrm>
          <a:prstGeom prst="roundRect">
            <a:avLst/>
          </a:prstGeom>
          <a:solidFill>
            <a:schemeClr val="tx1">
              <a:lumMod val="60000"/>
              <a:lumOff val="40000"/>
            </a:schemeClr>
          </a:solidFill>
        </p:spPr>
        <p:txBody>
          <a:bodyPr vert="horz" wrap="square" lIns="0" tIns="0" rIns="0" bIns="0" rtlCol="0" anchor="t" anchorCtr="0">
            <a:spAutoFit/>
          </a:bodyPr>
          <a:lstStyle/>
          <a:p>
            <a:pPr defTabSz="685800"/>
            <a:r>
              <a:rPr lang="es-CL" sz="1800" b="1" dirty="0" smtClean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A </a:t>
            </a:r>
            <a:r>
              <a:rPr lang="es-CL" sz="18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RRESPONSABILIDAD ES PARTE </a:t>
            </a:r>
          </a:p>
          <a:p>
            <a:pPr defTabSz="685800"/>
            <a:r>
              <a:rPr lang="es-CL" sz="18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 NUESTRA CULTURA INCLUSIVA </a:t>
            </a:r>
          </a:p>
        </p:txBody>
      </p:sp>
    </p:spTree>
    <p:extLst>
      <p:ext uri="{BB962C8B-B14F-4D97-AF65-F5344CB8AC3E}">
        <p14:creationId xmlns:p14="http://schemas.microsoft.com/office/powerpoint/2010/main" val="1344640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fecha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315F80CF-B076-F04C-8770-B8A09243D5BC}" type="datetime2">
              <a:rPr lang="en-GB" sz="600">
                <a:solidFill>
                  <a:srgbClr val="FFFFFF"/>
                </a:solidFill>
              </a:rPr>
              <a:pPr algn="r"/>
              <a:t>Tuesday, 17 December 2019</a:t>
            </a:fld>
            <a:r>
              <a:rPr lang="en-GB" sz="60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xmlns="" id="{D07A7F48-7B85-E44A-8643-1B39B062449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9" name="Título 2">
            <a:extLst>
              <a:ext uri="{FF2B5EF4-FFF2-40B4-BE49-F238E27FC236}">
                <a16:creationId xmlns:a16="http://schemas.microsoft.com/office/drawing/2014/main" xmlns="" id="{4502F0E6-A5D0-5C43-AEB9-313178E30E82}"/>
              </a:ext>
            </a:extLst>
          </p:cNvPr>
          <p:cNvSpPr txBox="1">
            <a:spLocks/>
          </p:cNvSpPr>
          <p:nvPr/>
        </p:nvSpPr>
        <p:spPr>
          <a:xfrm>
            <a:off x="382232" y="194816"/>
            <a:ext cx="7724443" cy="230833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pPr defTabSz="717780" fontAlgn="base">
              <a:spcAft>
                <a:spcPct val="0"/>
              </a:spcAft>
              <a:tabLst>
                <a:tab pos="290166" algn="l"/>
              </a:tabLst>
            </a:pPr>
            <a:r>
              <a:rPr lang="es-CL" sz="1800" b="1" dirty="0">
                <a:solidFill>
                  <a:srgbClr val="FFFFFF"/>
                </a:solidFill>
                <a:latin typeface="Helvetica" panose="020B0604020202020204" pitchFamily="34" charset="0"/>
                <a:ea typeface="Arial Unicode MS" pitchFamily="34" charset="-128"/>
                <a:cs typeface="Helvetica" panose="020B0604020202020204" pitchFamily="34" charset="0"/>
              </a:rPr>
              <a:t>¿CÓMO NOS HA IDO?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xmlns="" id="{C0EE5E91-B558-C64E-86E7-0EFFFA0F3EC6}"/>
              </a:ext>
            </a:extLst>
          </p:cNvPr>
          <p:cNvSpPr/>
          <p:nvPr/>
        </p:nvSpPr>
        <p:spPr>
          <a:xfrm>
            <a:off x="3527858" y="214065"/>
            <a:ext cx="479257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/>
            <a:r>
              <a:rPr lang="es-CL" sz="2800" b="1" dirty="0">
                <a:solidFill>
                  <a:srgbClr val="FF4100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100% </a:t>
            </a:r>
          </a:p>
          <a:p>
            <a:pPr algn="ctr" defTabSz="685800"/>
            <a:r>
              <a:rPr lang="es-CL" sz="2800" b="1" dirty="0">
                <a:solidFill>
                  <a:srgbClr val="FF4100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de </a:t>
            </a:r>
            <a:r>
              <a:rPr lang="es-CL" sz="2800" b="1" dirty="0" smtClean="0">
                <a:solidFill>
                  <a:srgbClr val="FF4100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los padres </a:t>
            </a:r>
            <a:r>
              <a:rPr lang="es-CL" sz="2800" b="1" dirty="0">
                <a:solidFill>
                  <a:srgbClr val="FF4100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ha utilizado el beneficio</a:t>
            </a:r>
            <a:endParaRPr lang="es-CL" sz="2800" b="1" dirty="0">
              <a:solidFill>
                <a:srgbClr val="FF410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Rectángulo redondeado 2"/>
          <p:cNvSpPr/>
          <p:nvPr/>
        </p:nvSpPr>
        <p:spPr>
          <a:xfrm>
            <a:off x="5123263" y="3486050"/>
            <a:ext cx="3782979" cy="1072634"/>
          </a:xfrm>
          <a:prstGeom prst="roundRect">
            <a:avLst/>
          </a:prstGeom>
          <a:solidFill>
            <a:schemeClr val="bg1">
              <a:alpha val="45000"/>
            </a:schemeClr>
          </a:solidFill>
        </p:spPr>
        <p:txBody>
          <a:bodyPr wrap="square">
            <a:spAutoFit/>
          </a:bodyPr>
          <a:lstStyle/>
          <a:p>
            <a:pPr defTabSz="685800"/>
            <a:r>
              <a:rPr lang="es-419" sz="1500" b="1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“El </a:t>
            </a:r>
            <a:r>
              <a:rPr lang="es-419" sz="1500" b="1" i="1" dirty="0">
                <a:latin typeface="Calibri" panose="020F0502020204030204" pitchFamily="34" charset="0"/>
                <a:ea typeface="Calibri" panose="020F0502020204030204" pitchFamily="34" charset="0"/>
              </a:rPr>
              <a:t>estar en casa 8 semanas, compartir el día a día con mi hijo y contribuir en todos sus </a:t>
            </a:r>
            <a:r>
              <a:rPr lang="es-419" sz="1500" b="1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cuidados, </a:t>
            </a:r>
            <a:r>
              <a:rPr lang="es-419" sz="1500" b="1" i="1" dirty="0">
                <a:latin typeface="Calibri" panose="020F0502020204030204" pitchFamily="34" charset="0"/>
                <a:ea typeface="Calibri" panose="020F0502020204030204" pitchFamily="34" charset="0"/>
              </a:rPr>
              <a:t>es </a:t>
            </a:r>
            <a:r>
              <a:rPr lang="es-419" sz="1500" b="1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impagable”. </a:t>
            </a:r>
            <a:endParaRPr lang="es-419" sz="1500" b="1" i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defTabSz="685800"/>
            <a:r>
              <a:rPr lang="es-419" sz="1200" b="1" i="1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Alfredo </a:t>
            </a:r>
            <a:r>
              <a:rPr lang="es-419" sz="1200" b="1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Mayanes, Ejecutivo BO Técnico</a:t>
            </a:r>
            <a:endParaRPr lang="es-CL" sz="1200" b="1" i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Rectángulo redondeado 3"/>
          <p:cNvSpPr/>
          <p:nvPr/>
        </p:nvSpPr>
        <p:spPr>
          <a:xfrm>
            <a:off x="232913" y="1202344"/>
            <a:ext cx="2083567" cy="2509242"/>
          </a:xfrm>
          <a:prstGeom prst="roundRect">
            <a:avLst/>
          </a:prstGeom>
          <a:solidFill>
            <a:schemeClr val="bg1">
              <a:alpha val="45000"/>
            </a:schemeClr>
          </a:solidFill>
        </p:spPr>
        <p:txBody>
          <a:bodyPr wrap="square" anchor="ctr">
            <a:spAutoFit/>
          </a:bodyPr>
          <a:lstStyle/>
          <a:p>
            <a:pPr algn="just" defTabSz="685800"/>
            <a:r>
              <a:rPr lang="es-ES" sz="1500" b="1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“Estas </a:t>
            </a:r>
            <a:r>
              <a:rPr lang="es-ES" sz="1500" b="1" i="1" dirty="0">
                <a:latin typeface="Calibri" panose="020F0502020204030204" pitchFamily="34" charset="0"/>
                <a:ea typeface="Calibri" panose="020F0502020204030204" pitchFamily="34" charset="0"/>
              </a:rPr>
              <a:t>8 </a:t>
            </a:r>
            <a:r>
              <a:rPr lang="es-ES" sz="1500" b="1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semanas, </a:t>
            </a:r>
            <a:r>
              <a:rPr lang="es-ES" sz="1500" b="1" i="1" dirty="0">
                <a:latin typeface="Calibri" panose="020F0502020204030204" pitchFamily="34" charset="0"/>
                <a:ea typeface="Calibri" panose="020F0502020204030204" pitchFamily="34" charset="0"/>
              </a:rPr>
              <a:t>permitieron que mi esposa viviera una maternidad distinta, </a:t>
            </a:r>
            <a:r>
              <a:rPr lang="es-ES" sz="1500" b="1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y </a:t>
            </a:r>
            <a:r>
              <a:rPr lang="es-ES" sz="1500" b="1" i="1" dirty="0">
                <a:latin typeface="Calibri" panose="020F0502020204030204" pitchFamily="34" charset="0"/>
                <a:ea typeface="Calibri" panose="020F0502020204030204" pitchFamily="34" charset="0"/>
              </a:rPr>
              <a:t>por </a:t>
            </a:r>
            <a:r>
              <a:rPr lang="es-ES" sz="1500" b="1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,sobre todo, </a:t>
            </a:r>
            <a:r>
              <a:rPr lang="es-ES" sz="1500" b="1" i="1" dirty="0">
                <a:latin typeface="Calibri" panose="020F0502020204030204" pitchFamily="34" charset="0"/>
                <a:ea typeface="Calibri" panose="020F0502020204030204" pitchFamily="34" charset="0"/>
              </a:rPr>
              <a:t>nos permitió dedicarle tiempo </a:t>
            </a:r>
            <a:r>
              <a:rPr lang="es-ES" sz="1500" b="1" i="1" dirty="0" smtClean="0">
                <a:latin typeface="Calibri" panose="020F0502020204030204" pitchFamily="34" charset="0"/>
                <a:ea typeface="Calibri" panose="020F0502020204030204" pitchFamily="34" charset="0"/>
              </a:rPr>
              <a:t>a </a:t>
            </a:r>
            <a:r>
              <a:rPr lang="es-ES" sz="1500" b="1" i="1" dirty="0">
                <a:latin typeface="Calibri" panose="020F0502020204030204" pitchFamily="34" charset="0"/>
                <a:ea typeface="Calibri" panose="020F0502020204030204" pitchFamily="34" charset="0"/>
              </a:rPr>
              <a:t>nuestro segundo hijo.” </a:t>
            </a:r>
            <a:r>
              <a:rPr lang="es-419" sz="1500" b="1" i="1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endParaRPr lang="es-419" sz="1500" b="1" i="1" dirty="0" smtClean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just" defTabSz="685800"/>
            <a:r>
              <a:rPr lang="es-419" sz="1200" b="1" i="1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Jose </a:t>
            </a:r>
            <a:r>
              <a:rPr lang="es-419" sz="1200" b="1" i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Gacitúa, Ingeniero </a:t>
            </a:r>
            <a:r>
              <a:rPr lang="es-419" sz="1200" b="1" i="1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de Televisión.</a:t>
            </a:r>
            <a:endParaRPr lang="es-CL" sz="1200" i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619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fecha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315F80CF-B076-F04C-8770-B8A09243D5BC}" type="datetime2">
              <a:rPr lang="en-GB" sz="600">
                <a:solidFill>
                  <a:srgbClr val="FFFFFF"/>
                </a:solidFill>
              </a:rPr>
              <a:pPr algn="r"/>
              <a:t>Tuesday, 17 December 2019</a:t>
            </a:fld>
            <a:r>
              <a:rPr lang="en-GB" sz="600">
                <a:solidFill>
                  <a:srgbClr val="FFFFFF"/>
                </a:solidFill>
              </a:rPr>
              <a:t>  |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2961" y="38755"/>
            <a:ext cx="787427" cy="777065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F8DF0255-2AB0-1C4B-B3C5-D8E6FEDF0FCC}"/>
              </a:ext>
            </a:extLst>
          </p:cNvPr>
          <p:cNvSpPr/>
          <p:nvPr/>
        </p:nvSpPr>
        <p:spPr>
          <a:xfrm>
            <a:off x="173529" y="414172"/>
            <a:ext cx="4367816" cy="401648"/>
          </a:xfrm>
          <a:prstGeom prst="rect">
            <a:avLst/>
          </a:prstGeom>
        </p:spPr>
        <p:txBody>
          <a:bodyPr lIns="0" tIns="0" rIns="0" bIns="0" anchor="t"/>
          <a:lstStyle/>
          <a:p>
            <a:pPr defTabSz="685800">
              <a:lnSpc>
                <a:spcPct val="90000"/>
              </a:lnSpc>
              <a:spcBef>
                <a:spcPts val="750"/>
              </a:spcBef>
            </a:pPr>
            <a:endParaRPr lang="es-CL" sz="1800" b="1" dirty="0">
              <a:solidFill>
                <a:srgbClr val="3E3838">
                  <a:lumMod val="60000"/>
                  <a:lumOff val="40000"/>
                </a:srgbClr>
              </a:solidFill>
              <a:ea typeface="Arial MT Light" charset="0"/>
              <a:cs typeface="Arial MT Light" charset="0"/>
            </a:endParaRP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FCD0AA06-EAB1-2E4D-9B2E-7E9999CB464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24450"/>
          </a:xfrm>
          <a:prstGeom prst="rect">
            <a:avLst/>
          </a:prstGeom>
        </p:spPr>
      </p:pic>
      <p:sp>
        <p:nvSpPr>
          <p:cNvPr id="10" name="Rectángulo 9"/>
          <p:cNvSpPr/>
          <p:nvPr/>
        </p:nvSpPr>
        <p:spPr>
          <a:xfrm>
            <a:off x="0" y="0"/>
            <a:ext cx="9144000" cy="5627543"/>
          </a:xfrm>
          <a:prstGeom prst="rect">
            <a:avLst/>
          </a:prstGeom>
          <a:solidFill>
            <a:srgbClr val="0D0D0D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es-CL" dirty="0">
              <a:solidFill>
                <a:srgbClr val="FFFFFF"/>
              </a:solidFill>
            </a:endParaRPr>
          </a:p>
        </p:txBody>
      </p:sp>
      <p:sp>
        <p:nvSpPr>
          <p:cNvPr id="19" name="Título 2">
            <a:extLst>
              <a:ext uri="{FF2B5EF4-FFF2-40B4-BE49-F238E27FC236}">
                <a16:creationId xmlns:a16="http://schemas.microsoft.com/office/drawing/2014/main" xmlns="" id="{38912705-899B-D644-BB78-67E3F5A9B4A7}"/>
              </a:ext>
            </a:extLst>
          </p:cNvPr>
          <p:cNvSpPr txBox="1">
            <a:spLocks/>
          </p:cNvSpPr>
          <p:nvPr/>
        </p:nvSpPr>
        <p:spPr>
          <a:xfrm>
            <a:off x="295700" y="175283"/>
            <a:ext cx="7724443" cy="760494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 baseline="0">
                <a:solidFill>
                  <a:schemeClr val="tx1"/>
                </a:solidFill>
                <a:latin typeface="Arial MT Light" charset="0"/>
                <a:ea typeface="Arial MT Light" charset="0"/>
                <a:cs typeface="Arial MT Light" charset="0"/>
              </a:defRPr>
            </a:lvl1pPr>
          </a:lstStyle>
          <a:p>
            <a:pPr defTabSz="717780" fontAlgn="base">
              <a:spcAft>
                <a:spcPct val="0"/>
              </a:spcAft>
              <a:tabLst>
                <a:tab pos="290166" algn="l"/>
              </a:tabLst>
            </a:pPr>
            <a:r>
              <a:rPr lang="es-CL" sz="1800" b="1" dirty="0">
                <a:solidFill>
                  <a:schemeClr val="bg1"/>
                </a:solidFill>
                <a:latin typeface="Helvetica" panose="020B0604020202020204" pitchFamily="34" charset="0"/>
                <a:ea typeface="Arial Unicode MS" pitchFamily="34" charset="-128"/>
                <a:cs typeface="Helvetica" panose="020B0604020202020204" pitchFamily="34" charset="0"/>
              </a:rPr>
              <a:t>NUESTRO </a:t>
            </a:r>
            <a:r>
              <a:rPr lang="es-CL" sz="18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 Unicode MS" pitchFamily="34" charset="-128"/>
                <a:cs typeface="Helvetica" panose="020B0604020202020204" pitchFamily="34" charset="0"/>
              </a:rPr>
              <a:t>DESAFIO COMÚN:</a:t>
            </a:r>
            <a:endParaRPr lang="es-CL" sz="1800" b="1" dirty="0">
              <a:solidFill>
                <a:schemeClr val="bg1"/>
              </a:solidFill>
              <a:latin typeface="Helvetica" panose="020B0604020202020204" pitchFamily="34" charset="0"/>
              <a:ea typeface="Arial Unicode MS" pitchFamily="34" charset="-128"/>
              <a:cs typeface="Helvetica" panose="020B0604020202020204" pitchFamily="34" charset="0"/>
            </a:endParaRPr>
          </a:p>
          <a:p>
            <a:pPr defTabSz="717780" fontAlgn="base">
              <a:spcAft>
                <a:spcPct val="0"/>
              </a:spcAft>
              <a:tabLst>
                <a:tab pos="290166" algn="l"/>
              </a:tabLst>
            </a:pPr>
            <a:r>
              <a:rPr lang="es-CL" sz="1800" b="1" dirty="0">
                <a:solidFill>
                  <a:srgbClr val="FF6600"/>
                </a:solidFill>
                <a:latin typeface="Helvetica" panose="020B0604020202020204" pitchFamily="34" charset="0"/>
                <a:ea typeface="Arial Unicode MS" pitchFamily="34" charset="-128"/>
                <a:cs typeface="Helvetica" panose="020B0604020202020204" pitchFamily="34" charset="0"/>
              </a:rPr>
              <a:t>PROMOVER </a:t>
            </a:r>
            <a:r>
              <a:rPr lang="es-CL" sz="1800" b="1" dirty="0" smtClean="0">
                <a:solidFill>
                  <a:srgbClr val="FF6600"/>
                </a:solidFill>
                <a:latin typeface="Helvetica" panose="020B0604020202020204" pitchFamily="34" charset="0"/>
                <a:ea typeface="Arial Unicode MS" pitchFamily="34" charset="-128"/>
                <a:cs typeface="Helvetica" panose="020B0604020202020204" pitchFamily="34" charset="0"/>
              </a:rPr>
              <a:t>UN ECOSISTEMA SOSTENIBLE  </a:t>
            </a:r>
            <a:endParaRPr lang="es-CL" sz="1800" b="1" dirty="0">
              <a:solidFill>
                <a:srgbClr val="FF6600"/>
              </a:solidFill>
              <a:latin typeface="Helvetica" panose="020B0604020202020204" pitchFamily="34" charset="0"/>
              <a:ea typeface="Arial Unicode MS" pitchFamily="34" charset="-128"/>
              <a:cs typeface="Helvetica" panose="020B0604020202020204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878BF437-39A8-654E-A1CA-F2A3E99F547B}"/>
              </a:ext>
            </a:extLst>
          </p:cNvPr>
          <p:cNvSpPr/>
          <p:nvPr/>
        </p:nvSpPr>
        <p:spPr>
          <a:xfrm>
            <a:off x="295699" y="4019163"/>
            <a:ext cx="8534999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85800">
              <a:spcAft>
                <a:spcPts val="600"/>
              </a:spcAft>
            </a:pPr>
            <a:r>
              <a:rPr lang="es-ES" sz="1800" b="1" i="1" dirty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“Cuando hay equidad en el ejercicio de la crianza, ganamos todos: nuestras economías, nuestras sociedades, nuestras familias y nuestras empresas</a:t>
            </a:r>
            <a:r>
              <a:rPr lang="es-ES" sz="1800" b="1" i="1" dirty="0" smtClean="0">
                <a:solidFill>
                  <a:schemeClr val="bg1"/>
                </a:solidFill>
                <a:ea typeface="Arial" panose="020B0604020202020204" pitchFamily="34" charset="0"/>
                <a:cs typeface="Times New Roman" panose="02020603050405020304" pitchFamily="18" charset="0"/>
              </a:rPr>
              <a:t>” </a:t>
            </a:r>
            <a:endParaRPr lang="es-ES" sz="1800" b="1" i="1" dirty="0">
              <a:solidFill>
                <a:schemeClr val="bg1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just" defTabSz="685800">
              <a:spcAft>
                <a:spcPts val="600"/>
              </a:spcAft>
            </a:pPr>
            <a:r>
              <a:rPr lang="es-ES" sz="10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panose="020B0604020202020204" pitchFamily="34" charset="0"/>
                <a:cs typeface="Helvetica" panose="020B0604020202020204" pitchFamily="34" charset="0"/>
              </a:rPr>
              <a:t>Stella </a:t>
            </a:r>
            <a:r>
              <a:rPr lang="es-ES" sz="1000" b="1" dirty="0" err="1">
                <a:solidFill>
                  <a:schemeClr val="bg1"/>
                </a:solidFill>
                <a:latin typeface="Helvetica" panose="020B0604020202020204" pitchFamily="34" charset="0"/>
                <a:ea typeface="Arial" panose="020B0604020202020204" pitchFamily="34" charset="0"/>
                <a:cs typeface="Helvetica" panose="020B0604020202020204" pitchFamily="34" charset="0"/>
              </a:rPr>
              <a:t>Zervoudaki</a:t>
            </a:r>
            <a:r>
              <a:rPr lang="es-ES" sz="1000" b="1" dirty="0">
                <a:solidFill>
                  <a:schemeClr val="bg1"/>
                </a:solidFill>
                <a:latin typeface="Helvetica" panose="020B0604020202020204" pitchFamily="34" charset="0"/>
                <a:ea typeface="Arial" panose="020B0604020202020204" pitchFamily="34" charset="0"/>
                <a:cs typeface="Helvetica" panose="020B0604020202020204" pitchFamily="34" charset="0"/>
              </a:rPr>
              <a:t>, Embajadora </a:t>
            </a:r>
            <a:r>
              <a:rPr lang="es-ES" sz="10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" panose="020B0604020202020204" pitchFamily="34" charset="0"/>
                <a:cs typeface="Helvetica" panose="020B0604020202020204" pitchFamily="34" charset="0"/>
              </a:rPr>
              <a:t>de </a:t>
            </a:r>
            <a:r>
              <a:rPr lang="es-ES" sz="1000" b="1" dirty="0">
                <a:solidFill>
                  <a:schemeClr val="bg1"/>
                </a:solidFill>
                <a:latin typeface="Helvetica" panose="020B0604020202020204" pitchFamily="34" charset="0"/>
                <a:ea typeface="Arial" panose="020B0604020202020204" pitchFamily="34" charset="0"/>
                <a:cs typeface="Helvetica" panose="020B0604020202020204" pitchFamily="34" charset="0"/>
              </a:rPr>
              <a:t>la Unión Europea en Chile</a:t>
            </a:r>
            <a:endParaRPr lang="es-CL" sz="1000" b="1" dirty="0">
              <a:solidFill>
                <a:schemeClr val="bg1"/>
              </a:solidFill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11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uadroTexto 6"/>
          <p:cNvSpPr txBox="1"/>
          <p:nvPr/>
        </p:nvSpPr>
        <p:spPr>
          <a:xfrm>
            <a:off x="544674" y="2924742"/>
            <a:ext cx="30689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s-ES_tradnl" sz="1800" b="1" spc="-113" dirty="0">
                <a:solidFill>
                  <a:prstClr val="white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Guillermo Ponce</a:t>
            </a:r>
          </a:p>
          <a:p>
            <a:pPr defTabSz="685800"/>
            <a:r>
              <a:rPr lang="es-ES_tradnl" sz="1800" dirty="0">
                <a:solidFill>
                  <a:prstClr val="white"/>
                </a:solidFill>
                <a:latin typeface="Helvetica" panose="020B0604020202020204" pitchFamily="34" charset="0"/>
                <a:ea typeface="Arial" charset="0"/>
                <a:cs typeface="Helvetica" panose="020B0604020202020204" pitchFamily="34" charset="0"/>
              </a:rPr>
              <a:t>CEO VTR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503731" y="2047578"/>
            <a:ext cx="77638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s-CL" sz="3600" b="1" dirty="0" smtClean="0">
                <a:solidFill>
                  <a:prstClr val="white"/>
                </a:solidFill>
                <a:ea typeface="Arial" charset="0"/>
                <a:cs typeface="Arial" charset="0"/>
              </a:rPr>
              <a:t>Sostenibilidad: ¿Objetivo o restricción? </a:t>
            </a:r>
            <a:endParaRPr lang="es-CL" sz="3600" b="1" dirty="0">
              <a:solidFill>
                <a:prstClr val="white"/>
              </a:solidFill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1951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0714" y="0"/>
            <a:ext cx="9488942" cy="5408266"/>
          </a:xfrm>
          <a:prstGeom prst="rect">
            <a:avLst/>
          </a:prstGeom>
          <a:noFill/>
        </p:spPr>
      </p:pic>
      <p:sp>
        <p:nvSpPr>
          <p:cNvPr id="14" name="Marcador de fecha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315F80CF-B076-F04C-8770-B8A09243D5BC}" type="datetime2">
              <a:rPr lang="en-GB" sz="600"/>
              <a:t>Tuesday, 17 December 2019</a:t>
            </a:fld>
            <a:r>
              <a:rPr lang="en-GB" sz="600"/>
              <a:t>  |</a:t>
            </a:r>
            <a:endParaRPr lang="en-US" dirty="0"/>
          </a:p>
        </p:txBody>
      </p:sp>
      <p:sp>
        <p:nvSpPr>
          <p:cNvPr id="12" name="Rectángulo 11"/>
          <p:cNvSpPr/>
          <p:nvPr/>
        </p:nvSpPr>
        <p:spPr>
          <a:xfrm>
            <a:off x="126811" y="133183"/>
            <a:ext cx="22878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1800" b="1" dirty="0">
                <a:solidFill>
                  <a:schemeClr val="bg1"/>
                </a:solidFill>
              </a:rPr>
              <a:t>¿QUIÉNES SOMOS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206090" y="1300126"/>
            <a:ext cx="5699410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VTR es parte del </a:t>
            </a:r>
            <a:r>
              <a:rPr lang="es-CL" sz="1600" b="1" dirty="0" smtClean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rupo </a:t>
            </a:r>
            <a:r>
              <a:rPr lang="es-CL" sz="1600" b="1" dirty="0" err="1" smtClean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iberty</a:t>
            </a:r>
            <a:r>
              <a:rPr lang="es-CL" sz="1600" b="1" dirty="0" smtClean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Latinoamérica (LLA), operador líder </a:t>
            </a:r>
            <a:r>
              <a:rPr lang="es-CL" sz="16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 América Latina y el </a:t>
            </a:r>
            <a:r>
              <a:rPr lang="es-CL" sz="1600" b="1" dirty="0" smtClean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aribe, con presencia en 20 </a:t>
            </a:r>
            <a:r>
              <a:rPr lang="es-CL" sz="16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rcados de consumo </a:t>
            </a:r>
            <a:r>
              <a:rPr lang="es-CL" sz="1600" b="1" dirty="0" smtClean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y </a:t>
            </a:r>
            <a:r>
              <a:rPr lang="es-CL" sz="16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0 mercados </a:t>
            </a:r>
            <a:r>
              <a:rPr lang="es-CL" sz="1600" b="1" dirty="0" smtClean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2B.</a:t>
            </a:r>
          </a:p>
          <a:p>
            <a:pPr algn="just"/>
            <a:endParaRPr lang="es-CL" sz="1600" b="1" dirty="0">
              <a:solidFill>
                <a:schemeClr val="tx1">
                  <a:lumMod val="75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b="1" dirty="0" smtClean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tamos con una red de última generación con más de 50.000 km, 10.800 colaboradores y más de 6 millones de clientes.</a:t>
            </a:r>
            <a:endParaRPr lang="es-CL" sz="1600" b="1" dirty="0">
              <a:solidFill>
                <a:schemeClr val="tx1">
                  <a:lumMod val="75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just"/>
            <a:endParaRPr lang="es-CL" sz="1600" b="1" dirty="0">
              <a:solidFill>
                <a:schemeClr val="tx1">
                  <a:lumMod val="75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b="1" dirty="0">
                <a:solidFill>
                  <a:schemeClr val="tx1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n Chile, es líder en servicios de telecomunicaciones, con más de 1,5 millones de clientes.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235920" y="449239"/>
            <a:ext cx="4367816" cy="401648"/>
          </a:xfrm>
          <a:prstGeom prst="rect">
            <a:avLst/>
          </a:prstGeom>
        </p:spPr>
        <p:txBody>
          <a:bodyPr lIns="0" tIns="0" rIns="0" bIns="0" anchor="t"/>
          <a:lstStyle/>
          <a:p>
            <a:pPr>
              <a:lnSpc>
                <a:spcPct val="90000"/>
              </a:lnSpc>
              <a:spcBef>
                <a:spcPts val="750"/>
              </a:spcBef>
            </a:pPr>
            <a:r>
              <a:rPr lang="es-CL" sz="2100" b="1" dirty="0">
                <a:solidFill>
                  <a:srgbClr val="FF6600"/>
                </a:solidFill>
                <a:latin typeface="Helvetica" panose="020B0604020202020204" pitchFamily="34" charset="0"/>
                <a:ea typeface="Arial MT Light" charset="0"/>
                <a:cs typeface="Helvetica" panose="020B0604020202020204" pitchFamily="34" charset="0"/>
              </a:rPr>
              <a:t>QUIÉNES SOMOS 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6B3BD618-7167-EA49-9DE3-B46AA0222DC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3644" y="56588"/>
            <a:ext cx="795770" cy="78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155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Marcador de fecha 1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algn="r"/>
            <a:fld id="{315F80CF-B076-F04C-8770-B8A09243D5BC}" type="datetime2">
              <a:rPr lang="en-GB" sz="600"/>
              <a:t>Tuesday, 17 December 2019</a:t>
            </a:fld>
            <a:r>
              <a:rPr lang="en-GB" sz="600"/>
              <a:t>  |</a:t>
            </a:r>
            <a:endParaRPr lang="en-US" dirty="0"/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12961" y="38755"/>
            <a:ext cx="787427" cy="777065"/>
          </a:xfrm>
          <a:prstGeom prst="rect">
            <a:avLst/>
          </a:prstGeom>
        </p:spPr>
      </p:pic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A8B80D39-34EA-E349-96A6-1BE9BE04D78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144000" cy="5438810"/>
          </a:xfrm>
          <a:prstGeom prst="rect">
            <a:avLst/>
          </a:prstGeom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xmlns="" id="{0FE5D26C-FAC5-E747-A7AE-892EC6F56E68}"/>
              </a:ext>
            </a:extLst>
          </p:cNvPr>
          <p:cNvSpPr/>
          <p:nvPr/>
        </p:nvSpPr>
        <p:spPr>
          <a:xfrm>
            <a:off x="204184" y="251623"/>
            <a:ext cx="4367816" cy="401648"/>
          </a:xfrm>
          <a:prstGeom prst="rect">
            <a:avLst/>
          </a:prstGeom>
        </p:spPr>
        <p:txBody>
          <a:bodyPr lIns="0" tIns="0" rIns="0" bIns="0" anchor="t"/>
          <a:lstStyle/>
          <a:p>
            <a:pPr>
              <a:lnSpc>
                <a:spcPct val="90000"/>
              </a:lnSpc>
              <a:spcBef>
                <a:spcPts val="750"/>
              </a:spcBef>
            </a:pPr>
            <a:r>
              <a:rPr lang="es-CL" sz="1800" b="1" dirty="0">
                <a:solidFill>
                  <a:schemeClr val="bg1"/>
                </a:solidFill>
                <a:latin typeface="Helvetica" panose="020B0604020202020204" pitchFamily="34" charset="0"/>
                <a:ea typeface="Arial MT Light" charset="0"/>
                <a:cs typeface="Helvetica" panose="020B0604020202020204" pitchFamily="34" charset="0"/>
              </a:rPr>
              <a:t>NUESTRA</a:t>
            </a:r>
            <a:r>
              <a:rPr lang="es-CL" sz="2100" b="1" dirty="0">
                <a:solidFill>
                  <a:schemeClr val="bg1"/>
                </a:solidFill>
                <a:latin typeface="Helvetica" panose="020B0604020202020204" pitchFamily="34" charset="0"/>
                <a:ea typeface="Arial MT Light" charset="0"/>
                <a:cs typeface="Helvetica" panose="020B0604020202020204" pitchFamily="34" charset="0"/>
              </a:rPr>
              <a:t> </a:t>
            </a:r>
            <a:r>
              <a:rPr lang="es-CL" sz="2100" b="1" dirty="0" smtClean="0">
                <a:solidFill>
                  <a:schemeClr val="bg1"/>
                </a:solidFill>
                <a:latin typeface="Helvetica" panose="020B0604020202020204" pitchFamily="34" charset="0"/>
                <a:ea typeface="Arial MT Light" charset="0"/>
                <a:cs typeface="Helvetica" panose="020B0604020202020204" pitchFamily="34" charset="0"/>
              </a:rPr>
              <a:t>VISIÓN </a:t>
            </a:r>
            <a:endParaRPr lang="es-CL" sz="2100" b="1" dirty="0">
              <a:solidFill>
                <a:schemeClr val="bg1"/>
              </a:solidFill>
              <a:latin typeface="Helvetica" panose="020B0604020202020204" pitchFamily="34" charset="0"/>
              <a:ea typeface="Arial MT Light" charset="0"/>
              <a:cs typeface="Helvetica" panose="020B0604020202020204" pitchFamily="34" charset="0"/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xmlns="" id="{C7AC5DD8-D92C-DB42-9E0F-F298828781F8}"/>
              </a:ext>
            </a:extLst>
          </p:cNvPr>
          <p:cNvSpPr txBox="1"/>
          <p:nvPr/>
        </p:nvSpPr>
        <p:spPr>
          <a:xfrm>
            <a:off x="592999" y="1615028"/>
            <a:ext cx="2639291" cy="221599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s-CL" sz="18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“Innovar para crear momentos significativos para nuestros clientes, generando crecimiento en nuestros mercados, con UNA visión, UNA cultura, UN equipo”.</a:t>
            </a:r>
          </a:p>
        </p:txBody>
      </p:sp>
    </p:spTree>
    <p:extLst>
      <p:ext uri="{BB962C8B-B14F-4D97-AF65-F5344CB8AC3E}">
        <p14:creationId xmlns:p14="http://schemas.microsoft.com/office/powerpoint/2010/main" val="313346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4"/>
          <p:cNvSpPr>
            <a:spLocks/>
          </p:cNvSpPr>
          <p:nvPr/>
        </p:nvSpPr>
        <p:spPr bwMode="auto">
          <a:xfrm>
            <a:off x="-71956" y="156896"/>
            <a:ext cx="3701678" cy="83887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defTabSz="685800">
              <a:lnSpc>
                <a:spcPct val="90000"/>
              </a:lnSpc>
            </a:pPr>
            <a:endParaRPr lang="en-US" sz="3300" b="1" dirty="0">
              <a:solidFill>
                <a:srgbClr val="3E3838">
                  <a:lumMod val="65000"/>
                  <a:lumOff val="35000"/>
                </a:srgbClr>
              </a:solidFill>
              <a:latin typeface="Helvetica" panose="020B0604020202020204" pitchFamily="34" charset="0"/>
              <a:cs typeface="Helvetica" panose="020B0604020202020204" pitchFamily="34" charset="0"/>
              <a:sym typeface="Telefonica Headline Light" pitchFamily="2" charset="0"/>
            </a:endParaRPr>
          </a:p>
        </p:txBody>
      </p:sp>
      <p:grpSp>
        <p:nvGrpSpPr>
          <p:cNvPr id="17" name="Grupo 16"/>
          <p:cNvGrpSpPr/>
          <p:nvPr/>
        </p:nvGrpSpPr>
        <p:grpSpPr>
          <a:xfrm>
            <a:off x="3011440" y="156896"/>
            <a:ext cx="1654472" cy="1548744"/>
            <a:chOff x="7611414" y="1352283"/>
            <a:chExt cx="3052293" cy="2395470"/>
          </a:xfrm>
          <a:solidFill>
            <a:srgbClr val="FF4000"/>
          </a:solidFill>
        </p:grpSpPr>
        <p:sp>
          <p:nvSpPr>
            <p:cNvPr id="18" name="Elipse 17"/>
            <p:cNvSpPr/>
            <p:nvPr/>
          </p:nvSpPr>
          <p:spPr>
            <a:xfrm>
              <a:off x="7611414" y="1352283"/>
              <a:ext cx="3052293" cy="2395470"/>
            </a:xfrm>
            <a:prstGeom prst="ellipse">
              <a:avLst/>
            </a:prstGeom>
            <a:grpFill/>
            <a:ln>
              <a:solidFill>
                <a:srgbClr val="FF4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s-CL">
                <a:solidFill>
                  <a:srgbClr val="FFFFFF"/>
                </a:solidFill>
              </a:endParaRPr>
            </a:p>
          </p:txBody>
        </p:sp>
        <p:pic>
          <p:nvPicPr>
            <p:cNvPr id="19" name="Imagen 3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8589468" y="1502920"/>
              <a:ext cx="964774" cy="1002313"/>
            </a:xfrm>
            <a:prstGeom prst="rect">
              <a:avLst/>
            </a:prstGeom>
            <a:grpFill/>
            <a:ln w="9525">
              <a:solidFill>
                <a:srgbClr val="FF4000"/>
              </a:solidFill>
              <a:miter lim="800000"/>
              <a:headEnd/>
              <a:tailEnd/>
            </a:ln>
          </p:spPr>
        </p:pic>
        <p:sp>
          <p:nvSpPr>
            <p:cNvPr id="20" name="CuadroTexto 19"/>
            <p:cNvSpPr txBox="1"/>
            <p:nvPr/>
          </p:nvSpPr>
          <p:spPr>
            <a:xfrm>
              <a:off x="7959990" y="2532534"/>
              <a:ext cx="2414564" cy="714065"/>
            </a:xfrm>
            <a:prstGeom prst="rect">
              <a:avLst/>
            </a:prstGeom>
            <a:grpFill/>
            <a:ln>
              <a:solidFill>
                <a:srgbClr val="FF4000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s-CL" sz="1200" b="1" dirty="0">
                  <a:solidFill>
                    <a:srgbClr val="FFFFFF"/>
                  </a:solidFill>
                </a:rPr>
                <a:t>Somos más de 1800 personas</a:t>
              </a:r>
              <a:r>
                <a:rPr lang="es-CL" sz="1200" dirty="0">
                  <a:solidFill>
                    <a:srgbClr val="FFFFFF"/>
                  </a:solidFill>
                </a:rPr>
                <a:t>.</a:t>
              </a:r>
            </a:p>
          </p:txBody>
        </p:sp>
      </p:grpSp>
      <p:grpSp>
        <p:nvGrpSpPr>
          <p:cNvPr id="21" name="Grupo 20"/>
          <p:cNvGrpSpPr/>
          <p:nvPr/>
        </p:nvGrpSpPr>
        <p:grpSpPr>
          <a:xfrm>
            <a:off x="5973421" y="2357133"/>
            <a:ext cx="1739540" cy="1774291"/>
            <a:chOff x="8111542" y="4185634"/>
            <a:chExt cx="3389291" cy="2589649"/>
          </a:xfrm>
          <a:solidFill>
            <a:srgbClr val="FF6600"/>
          </a:solidFill>
        </p:grpSpPr>
        <p:sp>
          <p:nvSpPr>
            <p:cNvPr id="22" name="Elipse 21"/>
            <p:cNvSpPr/>
            <p:nvPr/>
          </p:nvSpPr>
          <p:spPr>
            <a:xfrm>
              <a:off x="8111542" y="4185634"/>
              <a:ext cx="3389291" cy="2589649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s-CL">
                <a:solidFill>
                  <a:srgbClr val="FFFFFF"/>
                </a:solidFill>
              </a:endParaRPr>
            </a:p>
          </p:txBody>
        </p:sp>
        <p:pic>
          <p:nvPicPr>
            <p:cNvPr id="23" name="Imagen 10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70404" y="4611821"/>
              <a:ext cx="678656" cy="89296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Imagen 11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80494" y="4554822"/>
              <a:ext cx="759459" cy="75945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CuadroTexto 24"/>
            <p:cNvSpPr txBox="1"/>
            <p:nvPr/>
          </p:nvSpPr>
          <p:spPr>
            <a:xfrm>
              <a:off x="8607361" y="5439915"/>
              <a:ext cx="2467314" cy="943346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s-CL" sz="1200" b="1" dirty="0">
                  <a:solidFill>
                    <a:srgbClr val="FFFFFF"/>
                  </a:solidFill>
                </a:rPr>
                <a:t>Un 41% son mujeres y un 59% hombres.</a:t>
              </a:r>
            </a:p>
          </p:txBody>
        </p:sp>
      </p:grpSp>
      <p:grpSp>
        <p:nvGrpSpPr>
          <p:cNvPr id="26" name="Grupo 25"/>
          <p:cNvGrpSpPr/>
          <p:nvPr/>
        </p:nvGrpSpPr>
        <p:grpSpPr>
          <a:xfrm>
            <a:off x="3734322" y="1705640"/>
            <a:ext cx="1711971" cy="1683971"/>
            <a:chOff x="6284890" y="589814"/>
            <a:chExt cx="1692632" cy="1619648"/>
          </a:xfrm>
          <a:solidFill>
            <a:srgbClr val="FFC000"/>
          </a:solidFill>
        </p:grpSpPr>
        <p:sp>
          <p:nvSpPr>
            <p:cNvPr id="27" name="Elipse 26"/>
            <p:cNvSpPr/>
            <p:nvPr/>
          </p:nvSpPr>
          <p:spPr>
            <a:xfrm>
              <a:off x="6284890" y="589814"/>
              <a:ext cx="1692632" cy="161964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s-CL">
                <a:solidFill>
                  <a:srgbClr val="FFFFFF"/>
                </a:solidFill>
              </a:endParaRPr>
            </a:p>
          </p:txBody>
        </p:sp>
        <p:sp>
          <p:nvSpPr>
            <p:cNvPr id="28" name="CuadroTexto 27"/>
            <p:cNvSpPr txBox="1"/>
            <p:nvPr/>
          </p:nvSpPr>
          <p:spPr>
            <a:xfrm>
              <a:off x="6485997" y="981159"/>
              <a:ext cx="1289270" cy="821457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s-CL" sz="2400" dirty="0">
                  <a:solidFill>
                    <a:srgbClr val="FFFFFF"/>
                  </a:solidFill>
                </a:rPr>
                <a:t>El </a:t>
              </a:r>
              <a:r>
                <a:rPr lang="es-CL" sz="2400" b="1" dirty="0">
                  <a:solidFill>
                    <a:srgbClr val="FFFFFF"/>
                  </a:solidFill>
                </a:rPr>
                <a:t>62%</a:t>
              </a:r>
            </a:p>
            <a:p>
              <a:pPr algn="ctr" defTabSz="685800"/>
              <a:r>
                <a:rPr lang="es-CL" sz="1275" b="1" dirty="0">
                  <a:solidFill>
                    <a:srgbClr val="FFFFFF"/>
                  </a:solidFill>
                </a:rPr>
                <a:t>son madres </a:t>
              </a:r>
            </a:p>
            <a:p>
              <a:pPr algn="ctr" defTabSz="685800"/>
              <a:r>
                <a:rPr lang="es-CL" sz="1275" b="1" dirty="0">
                  <a:solidFill>
                    <a:srgbClr val="FFFFFF"/>
                  </a:solidFill>
                </a:rPr>
                <a:t>y padres.</a:t>
              </a: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1248298" y="2968418"/>
            <a:ext cx="1752626" cy="1618134"/>
            <a:chOff x="5631234" y="3437514"/>
            <a:chExt cx="1945061" cy="1815783"/>
          </a:xfrm>
          <a:solidFill>
            <a:schemeClr val="accent3">
              <a:lumMod val="40000"/>
              <a:lumOff val="60000"/>
            </a:schemeClr>
          </a:solidFill>
        </p:grpSpPr>
        <p:sp>
          <p:nvSpPr>
            <p:cNvPr id="30" name="Elipse 29"/>
            <p:cNvSpPr/>
            <p:nvPr/>
          </p:nvSpPr>
          <p:spPr>
            <a:xfrm>
              <a:off x="5631234" y="3437514"/>
              <a:ext cx="1945061" cy="1815783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s-CL">
                <a:solidFill>
                  <a:srgbClr val="FFFFFF"/>
                </a:solidFill>
              </a:endParaRPr>
            </a:p>
          </p:txBody>
        </p:sp>
        <p:sp>
          <p:nvSpPr>
            <p:cNvPr id="31" name="CuadroTexto 30"/>
            <p:cNvSpPr txBox="1"/>
            <p:nvPr/>
          </p:nvSpPr>
          <p:spPr>
            <a:xfrm>
              <a:off x="6007848" y="3906489"/>
              <a:ext cx="1191833" cy="984305"/>
            </a:xfrm>
            <a:prstGeom prst="rect">
              <a:avLst/>
            </a:prstGeom>
            <a:solidFill>
              <a:srgbClr val="7030A0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s-CL" sz="1275" b="1" dirty="0">
                  <a:solidFill>
                    <a:srgbClr val="FFFFFF"/>
                  </a:solidFill>
                </a:rPr>
                <a:t>El 78% de la RM</a:t>
              </a:r>
            </a:p>
            <a:p>
              <a:pPr algn="ctr" defTabSz="685800"/>
              <a:r>
                <a:rPr lang="es-CL" sz="1275" b="1" dirty="0">
                  <a:solidFill>
                    <a:srgbClr val="FFFFFF"/>
                  </a:solidFill>
                </a:rPr>
                <a:t>Y el 22% de </a:t>
              </a:r>
            </a:p>
            <a:p>
              <a:pPr algn="ctr" defTabSz="685800"/>
              <a:r>
                <a:rPr lang="es-CL" sz="1275" b="1" dirty="0">
                  <a:solidFill>
                    <a:srgbClr val="FFFFFF"/>
                  </a:solidFill>
                </a:rPr>
                <a:t>Regiones</a:t>
              </a:r>
              <a:r>
                <a:rPr lang="es-CL" sz="1275" dirty="0">
                  <a:solidFill>
                    <a:srgbClr val="FFFFFF"/>
                  </a:solidFill>
                </a:rPr>
                <a:t>.</a:t>
              </a:r>
            </a:p>
          </p:txBody>
        </p:sp>
      </p:grpSp>
      <p:grpSp>
        <p:nvGrpSpPr>
          <p:cNvPr id="32" name="Grupo 31"/>
          <p:cNvGrpSpPr/>
          <p:nvPr/>
        </p:nvGrpSpPr>
        <p:grpSpPr>
          <a:xfrm>
            <a:off x="3943708" y="3470894"/>
            <a:ext cx="1530283" cy="1376594"/>
            <a:chOff x="6284889" y="589813"/>
            <a:chExt cx="2079973" cy="1882741"/>
          </a:xfrm>
        </p:grpSpPr>
        <p:sp>
          <p:nvSpPr>
            <p:cNvPr id="33" name="Elipse 32"/>
            <p:cNvSpPr/>
            <p:nvPr/>
          </p:nvSpPr>
          <p:spPr>
            <a:xfrm>
              <a:off x="6284889" y="589813"/>
              <a:ext cx="2079973" cy="1882741"/>
            </a:xfrm>
            <a:prstGeom prst="ellipse">
              <a:avLst/>
            </a:prstGeom>
            <a:solidFill>
              <a:srgbClr val="F26522"/>
            </a:solidFill>
            <a:ln>
              <a:solidFill>
                <a:srgbClr val="F2652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s-CL">
                <a:solidFill>
                  <a:srgbClr val="FFFFFF"/>
                </a:solidFill>
              </a:endParaRPr>
            </a:p>
          </p:txBody>
        </p:sp>
        <p:sp>
          <p:nvSpPr>
            <p:cNvPr id="34" name="CuadroTexto 33"/>
            <p:cNvSpPr txBox="1"/>
            <p:nvPr/>
          </p:nvSpPr>
          <p:spPr>
            <a:xfrm>
              <a:off x="6449119" y="1100193"/>
              <a:ext cx="1796063" cy="915545"/>
            </a:xfrm>
            <a:prstGeom prst="rect">
              <a:avLst/>
            </a:prstGeom>
            <a:solidFill>
              <a:srgbClr val="F26522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s-CL" sz="1200" b="1" dirty="0">
                  <a:solidFill>
                    <a:srgbClr val="FFFFFF"/>
                  </a:solidFill>
                </a:rPr>
                <a:t>La edad </a:t>
              </a:r>
            </a:p>
            <a:p>
              <a:pPr algn="ctr" defTabSz="685800"/>
              <a:r>
                <a:rPr lang="es-CL" sz="1200" b="1" dirty="0">
                  <a:solidFill>
                    <a:srgbClr val="FFFFFF"/>
                  </a:solidFill>
                </a:rPr>
                <a:t>Promedio es</a:t>
              </a:r>
            </a:p>
            <a:p>
              <a:pPr algn="ctr" defTabSz="685800"/>
              <a:r>
                <a:rPr lang="es-CL" sz="1200" b="1" dirty="0">
                  <a:solidFill>
                    <a:srgbClr val="FFFFFF"/>
                  </a:solidFill>
                </a:rPr>
                <a:t>de 37 años.</a:t>
              </a:r>
            </a:p>
          </p:txBody>
        </p:sp>
      </p:grpSp>
      <p:grpSp>
        <p:nvGrpSpPr>
          <p:cNvPr id="35" name="Grupo 34"/>
          <p:cNvGrpSpPr/>
          <p:nvPr/>
        </p:nvGrpSpPr>
        <p:grpSpPr>
          <a:xfrm>
            <a:off x="5385940" y="324982"/>
            <a:ext cx="1729489" cy="1661071"/>
            <a:chOff x="2088976" y="4730610"/>
            <a:chExt cx="2284414" cy="2127390"/>
          </a:xfrm>
          <a:solidFill>
            <a:srgbClr val="AA0861"/>
          </a:solidFill>
        </p:grpSpPr>
        <p:grpSp>
          <p:nvGrpSpPr>
            <p:cNvPr id="36" name="Grupo 35"/>
            <p:cNvGrpSpPr/>
            <p:nvPr/>
          </p:nvGrpSpPr>
          <p:grpSpPr>
            <a:xfrm>
              <a:off x="2088976" y="4730610"/>
              <a:ext cx="2284414" cy="2127390"/>
              <a:chOff x="6284890" y="223571"/>
              <a:chExt cx="2031713" cy="1918605"/>
            </a:xfrm>
            <a:grpFill/>
          </p:grpSpPr>
          <p:sp>
            <p:nvSpPr>
              <p:cNvPr id="38" name="Elipse 37"/>
              <p:cNvSpPr/>
              <p:nvPr/>
            </p:nvSpPr>
            <p:spPr>
              <a:xfrm>
                <a:off x="6284890" y="223571"/>
                <a:ext cx="2031713" cy="1918605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s-CL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CuadroTexto 38"/>
              <p:cNvSpPr txBox="1"/>
              <p:nvPr/>
            </p:nvSpPr>
            <p:spPr>
              <a:xfrm>
                <a:off x="6637225" y="1246516"/>
                <a:ext cx="1358401" cy="666552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 defTabSz="685800"/>
                <a:r>
                  <a:rPr lang="es-CL" sz="1050" b="1" dirty="0">
                    <a:solidFill>
                      <a:srgbClr val="FFFFFF"/>
                    </a:solidFill>
                  </a:rPr>
                  <a:t>Colaboradores de 13</a:t>
                </a:r>
              </a:p>
              <a:p>
                <a:pPr algn="ctr" defTabSz="685800"/>
                <a:r>
                  <a:rPr lang="es-CL" sz="1050" b="1" dirty="0">
                    <a:solidFill>
                      <a:srgbClr val="FFFFFF"/>
                    </a:solidFill>
                  </a:rPr>
                  <a:t>nacionalidades</a:t>
                </a:r>
              </a:p>
            </p:txBody>
          </p:sp>
        </p:grpSp>
        <p:pic>
          <p:nvPicPr>
            <p:cNvPr id="37" name="Imagen 7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863893" y="4859249"/>
              <a:ext cx="823520" cy="108285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0" name="Grupo 39"/>
          <p:cNvGrpSpPr/>
          <p:nvPr/>
        </p:nvGrpSpPr>
        <p:grpSpPr>
          <a:xfrm>
            <a:off x="898290" y="641487"/>
            <a:ext cx="2069192" cy="2011141"/>
            <a:chOff x="6274704" y="-310729"/>
            <a:chExt cx="2516103" cy="2248984"/>
          </a:xfrm>
          <a:solidFill>
            <a:schemeClr val="bg2">
              <a:lumMod val="40000"/>
              <a:lumOff val="60000"/>
            </a:schemeClr>
          </a:solidFill>
        </p:grpSpPr>
        <p:sp>
          <p:nvSpPr>
            <p:cNvPr id="41" name="Elipse 40"/>
            <p:cNvSpPr/>
            <p:nvPr/>
          </p:nvSpPr>
          <p:spPr>
            <a:xfrm>
              <a:off x="6274704" y="-310729"/>
              <a:ext cx="2516103" cy="2248984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s-CL">
                <a:solidFill>
                  <a:srgbClr val="FFFFFF"/>
                </a:solidFill>
              </a:endParaRPr>
            </a:p>
          </p:txBody>
        </p:sp>
        <p:sp>
          <p:nvSpPr>
            <p:cNvPr id="42" name="CuadroTexto 41"/>
            <p:cNvSpPr txBox="1"/>
            <p:nvPr/>
          </p:nvSpPr>
          <p:spPr>
            <a:xfrm>
              <a:off x="6692693" y="56727"/>
              <a:ext cx="1639435" cy="1458442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685800"/>
              <a:r>
                <a:rPr lang="es-CL" b="1" dirty="0">
                  <a:solidFill>
                    <a:srgbClr val="FFFFFF"/>
                  </a:solidFill>
                </a:rPr>
                <a:t>Convivimos todas las</a:t>
              </a:r>
            </a:p>
            <a:p>
              <a:pPr algn="ctr" defTabSz="685800"/>
              <a:r>
                <a:rPr lang="es-CL" b="1" dirty="0">
                  <a:solidFill>
                    <a:srgbClr val="FFFFFF"/>
                  </a:solidFill>
                </a:rPr>
                <a:t>Generaciones</a:t>
              </a:r>
            </a:p>
            <a:p>
              <a:pPr algn="ctr" defTabSz="685800"/>
              <a:r>
                <a:rPr lang="es-CL" sz="1275" b="1" dirty="0">
                  <a:solidFill>
                    <a:srgbClr val="FFFFFF"/>
                  </a:solidFill>
                </a:rPr>
                <a:t>59%</a:t>
              </a:r>
              <a:r>
                <a:rPr lang="es-CL" sz="1275" dirty="0">
                  <a:solidFill>
                    <a:srgbClr val="FFFFFF"/>
                  </a:solidFill>
                </a:rPr>
                <a:t> Y</a:t>
              </a:r>
            </a:p>
            <a:p>
              <a:pPr algn="ctr" defTabSz="685800"/>
              <a:r>
                <a:rPr lang="es-CL" sz="1275" b="1" dirty="0">
                  <a:solidFill>
                    <a:srgbClr val="FFFFFF"/>
                  </a:solidFill>
                </a:rPr>
                <a:t>38%</a:t>
              </a:r>
              <a:r>
                <a:rPr lang="es-CL" sz="1275" dirty="0">
                  <a:solidFill>
                    <a:srgbClr val="FFFFFF"/>
                  </a:solidFill>
                </a:rPr>
                <a:t> X</a:t>
              </a:r>
            </a:p>
            <a:p>
              <a:pPr algn="ctr" defTabSz="685800"/>
              <a:r>
                <a:rPr lang="es-CL" sz="1275" b="1" dirty="0">
                  <a:solidFill>
                    <a:srgbClr val="FFFFFF"/>
                  </a:solidFill>
                </a:rPr>
                <a:t>3%</a:t>
              </a:r>
              <a:r>
                <a:rPr lang="es-CL" sz="1275" dirty="0">
                  <a:solidFill>
                    <a:srgbClr val="FFFFFF"/>
                  </a:solidFill>
                </a:rPr>
                <a:t> BB</a:t>
              </a:r>
            </a:p>
          </p:txBody>
        </p:sp>
      </p:grpSp>
      <p:sp>
        <p:nvSpPr>
          <p:cNvPr id="44" name="Rectángulo 43"/>
          <p:cNvSpPr/>
          <p:nvPr/>
        </p:nvSpPr>
        <p:spPr>
          <a:xfrm>
            <a:off x="378489" y="226462"/>
            <a:ext cx="4367816" cy="401648"/>
          </a:xfrm>
          <a:prstGeom prst="rect">
            <a:avLst/>
          </a:prstGeom>
        </p:spPr>
        <p:txBody>
          <a:bodyPr lIns="0" tIns="0" rIns="0" bIns="0" anchor="t"/>
          <a:lstStyle/>
          <a:p>
            <a:pPr defTabSz="685800">
              <a:lnSpc>
                <a:spcPct val="90000"/>
              </a:lnSpc>
              <a:spcBef>
                <a:spcPts val="750"/>
              </a:spcBef>
            </a:pPr>
            <a:r>
              <a:rPr lang="es-CL" sz="1800" b="1" dirty="0">
                <a:solidFill>
                  <a:srgbClr val="FFFFFF"/>
                </a:solidFill>
                <a:latin typeface="Helvetica" panose="020B0604020202020204" pitchFamily="34" charset="0"/>
                <a:ea typeface="Arial MT Light" charset="0"/>
                <a:cs typeface="Helvetica" panose="020B0604020202020204" pitchFamily="34" charset="0"/>
              </a:rPr>
              <a:t>EL EQUIPO VTR </a:t>
            </a:r>
          </a:p>
        </p:txBody>
      </p:sp>
    </p:spTree>
    <p:extLst>
      <p:ext uri="{BB962C8B-B14F-4D97-AF65-F5344CB8AC3E}">
        <p14:creationId xmlns:p14="http://schemas.microsoft.com/office/powerpoint/2010/main" val="3955649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1785276" y="121702"/>
            <a:ext cx="64684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CL" sz="1800" b="1" dirty="0">
                <a:solidFill>
                  <a:schemeClr val="bg1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rPr>
              <a:t>OBJETIVO O RESTRICCIÓN ¿DESDE DÓNDE MIRAMOS?</a:t>
            </a:r>
          </a:p>
        </p:txBody>
      </p:sp>
    </p:spTree>
    <p:extLst>
      <p:ext uri="{BB962C8B-B14F-4D97-AF65-F5344CB8AC3E}">
        <p14:creationId xmlns:p14="http://schemas.microsoft.com/office/powerpoint/2010/main" val="1229624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2295" y="-1116161"/>
            <a:ext cx="9286679" cy="6259661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991937" y="124637"/>
            <a:ext cx="3489097" cy="369332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800" b="1">
                <a:solidFill>
                  <a:schemeClr val="bg1"/>
                </a:solidFill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</a:defRPr>
            </a:lvl1pPr>
          </a:lstStyle>
          <a:p>
            <a:pPr algn="ctr"/>
            <a:r>
              <a:rPr lang="es-ES_tradnl" dirty="0" smtClean="0"/>
              <a:t>EL </a:t>
            </a:r>
            <a:r>
              <a:rPr lang="es-ES_tradnl" dirty="0"/>
              <a:t>BALANCE</a:t>
            </a:r>
            <a:r>
              <a:rPr lang="es-ES_tradnl" dirty="0" smtClean="0"/>
              <a:t> ES M</a:t>
            </a:r>
            <a:r>
              <a:rPr lang="es-ES" dirty="0" smtClean="0"/>
              <a:t>ÁS DIFÍCI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92498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 descr="ARTESANO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</p:pic>
      <p:sp>
        <p:nvSpPr>
          <p:cNvPr id="5" name="CuadroTexto 4"/>
          <p:cNvSpPr txBox="1"/>
          <p:nvPr/>
        </p:nvSpPr>
        <p:spPr>
          <a:xfrm>
            <a:off x="0" y="24352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800" b="1" spc="300" dirty="0" smtClean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</a:rPr>
              <a:t>HAY QUE SABER ADAPTARSE… PERO SIN PERDER EL OFICIO</a:t>
            </a:r>
            <a:endParaRPr lang="es-ES_tradnl" sz="1800" b="1" spc="300" dirty="0">
              <a:solidFill>
                <a:schemeClr val="bg1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131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n 1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98" y="2142867"/>
            <a:ext cx="1178138" cy="1317488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185" y="2182434"/>
            <a:ext cx="734752" cy="1285817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5190" y="2142867"/>
            <a:ext cx="1197140" cy="1317488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3679" y="2142867"/>
            <a:ext cx="1197140" cy="1317488"/>
          </a:xfrm>
          <a:prstGeom prst="rect">
            <a:avLst/>
          </a:prstGeom>
        </p:spPr>
      </p:pic>
      <p:sp>
        <p:nvSpPr>
          <p:cNvPr id="15" name="CuadroTexto 14"/>
          <p:cNvSpPr txBox="1"/>
          <p:nvPr/>
        </p:nvSpPr>
        <p:spPr>
          <a:xfrm>
            <a:off x="0" y="243527"/>
            <a:ext cx="91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1800" b="1" spc="3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NUESTRA RUTA ESTRAT</a:t>
            </a:r>
            <a:r>
              <a:rPr lang="es-ES" sz="1800" b="1" spc="300" dirty="0" smtClean="0">
                <a:solidFill>
                  <a:schemeClr val="tx1">
                    <a:lumMod val="60000"/>
                    <a:lumOff val="40000"/>
                  </a:schemeClr>
                </a:solidFill>
                <a:latin typeface="Helvetica" charset="0"/>
                <a:ea typeface="Helvetica" charset="0"/>
                <a:cs typeface="Helvetica" charset="0"/>
              </a:rPr>
              <a:t>ÉGICA 2019 A 2021</a:t>
            </a:r>
            <a:endParaRPr lang="es-ES_tradnl" sz="1800" b="1" spc="300" dirty="0">
              <a:solidFill>
                <a:schemeClr val="tx1">
                  <a:lumMod val="60000"/>
                  <a:lumOff val="40000"/>
                </a:schemeClr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pic>
        <p:nvPicPr>
          <p:cNvPr id="26" name="Imagen 25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2765" y="1339098"/>
            <a:ext cx="1038036" cy="1214307"/>
          </a:xfrm>
          <a:prstGeom prst="rect">
            <a:avLst/>
          </a:prstGeom>
        </p:spPr>
      </p:pic>
      <p:pic>
        <p:nvPicPr>
          <p:cNvPr id="28" name="Imagen 27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24155" y="1340317"/>
            <a:ext cx="1067415" cy="1214307"/>
          </a:xfrm>
          <a:prstGeom prst="rect">
            <a:avLst/>
          </a:prstGeom>
        </p:spPr>
      </p:pic>
      <p:pic>
        <p:nvPicPr>
          <p:cNvPr id="29" name="Imagen 2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5367" y="3278486"/>
            <a:ext cx="1033141" cy="1214307"/>
          </a:xfrm>
          <a:prstGeom prst="rect">
            <a:avLst/>
          </a:prstGeom>
        </p:spPr>
      </p:pic>
      <p:pic>
        <p:nvPicPr>
          <p:cNvPr id="33" name="Imagen 32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81669" y="3234840"/>
            <a:ext cx="1297546" cy="1160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99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-3.08642E-6 L -0.12448 -0.17407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233" y="-870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2.71605E-6 L -0.10243 0.17809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122" y="888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3.08642E-6 L -0.01702 -0.16759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51" y="-8395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3.08642E-6 L 0.01441 0.20587 " pathEditMode="relative" rAng="0" ptsTypes="AA">
                                      <p:cBhvr>
                                        <p:cTn id="12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12" y="10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68650" y="965200"/>
            <a:ext cx="2806700" cy="321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93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m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vj4RqCL0KCh1MRQYS9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sa0nzVwk62wdahEirA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Liberty Global Letter Green-Light Blu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tIns="90000" bIns="90000"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Liberty Global Letter Green-Light Blu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tIns="90000" bIns="90000"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LA HR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iberty Global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D500"/>
      </a:lt2>
      <a:accent1>
        <a:srgbClr val="004F9F"/>
      </a:accent1>
      <a:accent2>
        <a:srgbClr val="831F82"/>
      </a:accent2>
      <a:accent3>
        <a:srgbClr val="CD1719"/>
      </a:accent3>
      <a:accent4>
        <a:srgbClr val="EA5B0C"/>
      </a:accent4>
      <a:accent5>
        <a:srgbClr val="67AD2F"/>
      </a:accent5>
      <a:accent6>
        <a:srgbClr val="808080"/>
      </a:accent6>
      <a:hlink>
        <a:srgbClr val="CD1719"/>
      </a:hlink>
      <a:folHlink>
        <a:srgbClr val="EA5B0C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060"/>
        </a:solidFill>
        <a:ln>
          <a:solidFill>
            <a:schemeClr val="tx1">
              <a:lumMod val="65000"/>
              <a:lumOff val="35000"/>
            </a:schemeClr>
          </a:solidFill>
        </a:ln>
      </a:spPr>
      <a:bodyPr spcFirstLastPara="0" vert="horz" wrap="square" lIns="40005" tIns="13335" rIns="13335" bIns="13335" numCol="1" spcCol="1270" rtlCol="0" anchor="ctr" anchorCtr="0">
        <a:noAutofit/>
      </a:bodyPr>
      <a:lstStyle>
        <a:defPPr algn="ctr" defTabSz="444500">
          <a:lnSpc>
            <a:spcPct val="90000"/>
          </a:lnSpc>
          <a:spcBef>
            <a:spcPct val="0"/>
          </a:spcBef>
          <a:spcAft>
            <a:spcPct val="35000"/>
          </a:spcAft>
          <a:defRPr sz="900" b="1" dirty="0" smtClean="0">
            <a:solidFill>
              <a:schemeClr val="bg1"/>
            </a:solidFill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 w="28575">
          <a:solidFill>
            <a:schemeClr val="accent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Liberty Global Template 1">
        <a:dk1>
          <a:srgbClr val="000000"/>
        </a:dk1>
        <a:lt1>
          <a:srgbClr val="FFFFFF"/>
        </a:lt1>
        <a:dk2>
          <a:srgbClr val="000000"/>
        </a:dk2>
        <a:lt2>
          <a:srgbClr val="FFD500"/>
        </a:lt2>
        <a:accent1>
          <a:srgbClr val="004F9F"/>
        </a:accent1>
        <a:accent2>
          <a:srgbClr val="831F82"/>
        </a:accent2>
        <a:accent3>
          <a:srgbClr val="FFFFFF"/>
        </a:accent3>
        <a:accent4>
          <a:srgbClr val="000000"/>
        </a:accent4>
        <a:accent5>
          <a:srgbClr val="AAB2CD"/>
        </a:accent5>
        <a:accent6>
          <a:srgbClr val="761B75"/>
        </a:accent6>
        <a:hlink>
          <a:srgbClr val="CD1719"/>
        </a:hlink>
        <a:folHlink>
          <a:srgbClr val="EA5B0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Liberty Global Template.pptx" id="{459B4CC7-9D95-4104-9B56-CC491A621EBC}" vid="{AE92679E-CB66-4B24-8BC5-FD96A407642C}"/>
    </a:ext>
  </a:extLst>
</a:theme>
</file>

<file path=ppt/theme/theme5.xml><?xml version="1.0" encoding="utf-8"?>
<a:theme xmlns:a="http://schemas.openxmlformats.org/drawingml/2006/main" name="1_LLA HR Them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wrap="square" lIns="0" tIns="0" rIns="0" bIns="0" rtlCol="0" anchor="t" anchorCtr="0">
        <a:spAutoFit/>
      </a:bodyPr>
      <a:lstStyle>
        <a:defPPr>
          <a:defRPr sz="2400" dirty="0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Liberty Global Letter Green-Light Blu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tIns="90000" bIns="90000"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638F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3600" b="1" dirty="0">
            <a:solidFill>
              <a:schemeClr val="bg1"/>
            </a:solidFill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Liberty Global Letter Green-Light Blue">
  <a:themeElements>
    <a:clrScheme name="Liberty Latin America Orange">
      <a:dk1>
        <a:srgbClr val="3E3838"/>
      </a:dk1>
      <a:lt1>
        <a:srgbClr val="FFFFFF"/>
      </a:lt1>
      <a:dk2>
        <a:srgbClr val="6F6B6C"/>
      </a:dk2>
      <a:lt2>
        <a:srgbClr val="FF4100"/>
      </a:lt2>
      <a:accent1>
        <a:srgbClr val="004F9F"/>
      </a:accent1>
      <a:accent2>
        <a:srgbClr val="831F82"/>
      </a:accent2>
      <a:accent3>
        <a:srgbClr val="C2000B"/>
      </a:accent3>
      <a:accent4>
        <a:srgbClr val="FD1A16"/>
      </a:accent4>
      <a:accent5>
        <a:srgbClr val="50A028"/>
      </a:accent5>
      <a:accent6>
        <a:srgbClr val="C0C0C0"/>
      </a:accent6>
      <a:hlink>
        <a:srgbClr val="FF4100"/>
      </a:hlink>
      <a:folHlink>
        <a:srgbClr val="6F6B6C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tIns="90000" bIns="90000" rtlCol="0" anchor="ctr"/>
      <a:lstStyle>
        <a:defPPr algn="ctr">
          <a:defRPr sz="160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0746</TotalTime>
  <Words>857</Words>
  <Application>Microsoft Office PowerPoint</Application>
  <PresentationFormat>Presentación en pantalla (16:9)</PresentationFormat>
  <Paragraphs>118</Paragraphs>
  <Slides>15</Slides>
  <Notes>10</Notes>
  <HiddenSlides>0</HiddenSlides>
  <MMClips>0</MMClips>
  <ScaleCrop>false</ScaleCrop>
  <HeadingPairs>
    <vt:vector size="8" baseType="variant">
      <vt:variant>
        <vt:lpstr>Fuentes usadas</vt:lpstr>
      </vt:variant>
      <vt:variant>
        <vt:i4>16</vt:i4>
      </vt:variant>
      <vt:variant>
        <vt:lpstr>Tema</vt:lpstr>
      </vt:variant>
      <vt:variant>
        <vt:i4>8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5</vt:i4>
      </vt:variant>
    </vt:vector>
  </HeadingPairs>
  <TitlesOfParts>
    <vt:vector size="41" baseType="lpstr">
      <vt:lpstr>Arial Unicode MS</vt:lpstr>
      <vt:lpstr>ＭＳ Ｐゴシック</vt:lpstr>
      <vt:lpstr>Arial</vt:lpstr>
      <vt:lpstr>Arial MT Light</vt:lpstr>
      <vt:lpstr>Calibri</vt:lpstr>
      <vt:lpstr>Goudy Old Style</vt:lpstr>
      <vt:lpstr>Helvetica</vt:lpstr>
      <vt:lpstr>Helvetica Light</vt:lpstr>
      <vt:lpstr>Helvetica Neue</vt:lpstr>
      <vt:lpstr>Helvetica Neue Light</vt:lpstr>
      <vt:lpstr>Helvetica Neue UltraLight</vt:lpstr>
      <vt:lpstr>Mangal</vt:lpstr>
      <vt:lpstr>OpenSansRegular</vt:lpstr>
      <vt:lpstr>Telefonica Headline Light</vt:lpstr>
      <vt:lpstr>Times New Roman</vt:lpstr>
      <vt:lpstr>Wingdings 2</vt:lpstr>
      <vt:lpstr>2_Liberty Global Letter Green-Light Blue</vt:lpstr>
      <vt:lpstr>3_Liberty Global Letter Green-Light Blue</vt:lpstr>
      <vt:lpstr>LLA HR Theme</vt:lpstr>
      <vt:lpstr>Liberty Global Template</vt:lpstr>
      <vt:lpstr>1_LLA HR Theme</vt:lpstr>
      <vt:lpstr>4_Liberty Global Letter Green-Light Blue</vt:lpstr>
      <vt:lpstr>Tema de Office</vt:lpstr>
      <vt:lpstr>5_Liberty Global Letter Green-Light Blue</vt:lpstr>
      <vt:lpstr>think-cell Slid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Deloitte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views</dc:title>
  <dc:creator>lkowalski@libertyglobal.com</dc:creator>
  <cp:lastModifiedBy>Veronica Diaz_De_La_Vega</cp:lastModifiedBy>
  <cp:revision>2117</cp:revision>
  <cp:lastPrinted>2017-04-03T21:56:23Z</cp:lastPrinted>
  <dcterms:created xsi:type="dcterms:W3CDTF">2016-07-19T13:08:31Z</dcterms:created>
  <dcterms:modified xsi:type="dcterms:W3CDTF">2019-12-17T18:56:30Z</dcterms:modified>
</cp:coreProperties>
</file>